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12"/>
  </p:notesMasterIdLst>
  <p:handoutMasterIdLst>
    <p:handoutMasterId r:id="rId13"/>
  </p:handoutMasterIdLst>
  <p:sldIdLst>
    <p:sldId id="381" r:id="rId6"/>
    <p:sldId id="374" r:id="rId7"/>
    <p:sldId id="358" r:id="rId8"/>
    <p:sldId id="360" r:id="rId9"/>
    <p:sldId id="378" r:id="rId10"/>
    <p:sldId id="382" r:id="rId11"/>
  </p:sldIdLst>
  <p:sldSz cx="12192000" cy="6858000"/>
  <p:notesSz cx="6858000" cy="9144000"/>
  <p:custDataLst>
    <p:tags r:id="rId14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88B8D"/>
    <a:srgbClr val="E4E4E4"/>
    <a:srgbClr val="009A44"/>
    <a:srgbClr val="00005A"/>
    <a:srgbClr val="009AFF"/>
    <a:srgbClr val="FBBA45"/>
    <a:srgbClr val="77B2FF"/>
    <a:srgbClr val="55CF8A"/>
    <a:srgbClr val="F50082"/>
    <a:srgbClr val="85CE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0AE1F1B-43E6-4DDF-930B-0901CEFB9EB7}" v="21" dt="2021-07-21T20:18:21.47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llanmörkt format 2 - Dekorfär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llanmörkt format 2 - Dekorfärg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llanmörkt format 2 - Dekorfärg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352" autoAdjust="0"/>
    <p:restoredTop sz="94608" autoAdjust="0"/>
  </p:normalViewPr>
  <p:slideViewPr>
    <p:cSldViewPr snapToGrid="0" showGuides="1">
      <p:cViewPr varScale="1">
        <p:scale>
          <a:sx n="67" d="100"/>
          <a:sy n="67" d="100"/>
        </p:scale>
        <p:origin x="860" y="3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066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6/11/relationships/changesInfo" Target="changesInfos/changesInfo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DRIGUEZ Jennifer" userId="90ca4e73-972a-4817-9115-62e5a11e9cb0" providerId="ADAL" clId="{70AE1F1B-43E6-4DDF-930B-0901CEFB9EB7}"/>
    <pc:docChg chg="undo custSel addSld delSld modSld">
      <pc:chgData name="RODRIGUEZ Jennifer" userId="90ca4e73-972a-4817-9115-62e5a11e9cb0" providerId="ADAL" clId="{70AE1F1B-43E6-4DDF-930B-0901CEFB9EB7}" dt="2021-07-21T20:19:54.822" v="800" actId="6549"/>
      <pc:docMkLst>
        <pc:docMk/>
      </pc:docMkLst>
      <pc:sldChg chg="del">
        <pc:chgData name="RODRIGUEZ Jennifer" userId="90ca4e73-972a-4817-9115-62e5a11e9cb0" providerId="ADAL" clId="{70AE1F1B-43E6-4DDF-930B-0901CEFB9EB7}" dt="2021-07-21T20:09:43.239" v="687" actId="47"/>
        <pc:sldMkLst>
          <pc:docMk/>
          <pc:sldMk cId="237175212" sldId="259"/>
        </pc:sldMkLst>
      </pc:sldChg>
      <pc:sldChg chg="del">
        <pc:chgData name="RODRIGUEZ Jennifer" userId="90ca4e73-972a-4817-9115-62e5a11e9cb0" providerId="ADAL" clId="{70AE1F1B-43E6-4DDF-930B-0901CEFB9EB7}" dt="2021-07-21T20:09:43.791" v="688" actId="47"/>
        <pc:sldMkLst>
          <pc:docMk/>
          <pc:sldMk cId="764493909" sldId="273"/>
        </pc:sldMkLst>
      </pc:sldChg>
      <pc:sldChg chg="del">
        <pc:chgData name="RODRIGUEZ Jennifer" userId="90ca4e73-972a-4817-9115-62e5a11e9cb0" providerId="ADAL" clId="{70AE1F1B-43E6-4DDF-930B-0901CEFB9EB7}" dt="2021-07-21T19:26:47.246" v="1" actId="47"/>
        <pc:sldMkLst>
          <pc:docMk/>
          <pc:sldMk cId="2001792274" sldId="352"/>
        </pc:sldMkLst>
      </pc:sldChg>
      <pc:sldChg chg="del">
        <pc:chgData name="RODRIGUEZ Jennifer" userId="90ca4e73-972a-4817-9115-62e5a11e9cb0" providerId="ADAL" clId="{70AE1F1B-43E6-4DDF-930B-0901CEFB9EB7}" dt="2021-07-21T19:26:48.340" v="2" actId="47"/>
        <pc:sldMkLst>
          <pc:docMk/>
          <pc:sldMk cId="850007647" sldId="353"/>
        </pc:sldMkLst>
      </pc:sldChg>
      <pc:sldChg chg="del">
        <pc:chgData name="RODRIGUEZ Jennifer" userId="90ca4e73-972a-4817-9115-62e5a11e9cb0" providerId="ADAL" clId="{70AE1F1B-43E6-4DDF-930B-0901CEFB9EB7}" dt="2021-07-21T19:26:49.921" v="4" actId="47"/>
        <pc:sldMkLst>
          <pc:docMk/>
          <pc:sldMk cId="35351086" sldId="354"/>
        </pc:sldMkLst>
      </pc:sldChg>
      <pc:sldChg chg="del">
        <pc:chgData name="RODRIGUEZ Jennifer" userId="90ca4e73-972a-4817-9115-62e5a11e9cb0" providerId="ADAL" clId="{70AE1F1B-43E6-4DDF-930B-0901CEFB9EB7}" dt="2021-07-21T19:26:53.802" v="9" actId="47"/>
        <pc:sldMkLst>
          <pc:docMk/>
          <pc:sldMk cId="136898728" sldId="356"/>
        </pc:sldMkLst>
      </pc:sldChg>
      <pc:sldChg chg="addSp delSp modSp mod">
        <pc:chgData name="RODRIGUEZ Jennifer" userId="90ca4e73-972a-4817-9115-62e5a11e9cb0" providerId="ADAL" clId="{70AE1F1B-43E6-4DDF-930B-0901CEFB9EB7}" dt="2021-07-21T19:55:27.318" v="186" actId="20577"/>
        <pc:sldMkLst>
          <pc:docMk/>
          <pc:sldMk cId="3704759820" sldId="358"/>
        </pc:sldMkLst>
        <pc:spChg chg="mod">
          <ac:chgData name="RODRIGUEZ Jennifer" userId="90ca4e73-972a-4817-9115-62e5a11e9cb0" providerId="ADAL" clId="{70AE1F1B-43E6-4DDF-930B-0901CEFB9EB7}" dt="2021-07-21T19:36:19.779" v="61" actId="113"/>
          <ac:spMkLst>
            <pc:docMk/>
            <pc:sldMk cId="3704759820" sldId="358"/>
            <ac:spMk id="3" creationId="{18FB8DE6-70EA-439B-8F73-A7845216DE95}"/>
          </ac:spMkLst>
        </pc:spChg>
        <pc:spChg chg="add del mod">
          <ac:chgData name="RODRIGUEZ Jennifer" userId="90ca4e73-972a-4817-9115-62e5a11e9cb0" providerId="ADAL" clId="{70AE1F1B-43E6-4DDF-930B-0901CEFB9EB7}" dt="2021-07-21T19:35:50.419" v="56" actId="478"/>
          <ac:spMkLst>
            <pc:docMk/>
            <pc:sldMk cId="3704759820" sldId="358"/>
            <ac:spMk id="5" creationId="{5DB88ADE-2F83-4E9E-AEB9-0F31B133BDA2}"/>
          </ac:spMkLst>
        </pc:spChg>
        <pc:spChg chg="add del mod">
          <ac:chgData name="RODRIGUEZ Jennifer" userId="90ca4e73-972a-4817-9115-62e5a11e9cb0" providerId="ADAL" clId="{70AE1F1B-43E6-4DDF-930B-0901CEFB9EB7}" dt="2021-07-21T19:35:50.419" v="56" actId="478"/>
          <ac:spMkLst>
            <pc:docMk/>
            <pc:sldMk cId="3704759820" sldId="358"/>
            <ac:spMk id="7" creationId="{9A454675-9A21-4672-8962-39330C3CE4FE}"/>
          </ac:spMkLst>
        </pc:spChg>
        <pc:spChg chg="del">
          <ac:chgData name="RODRIGUEZ Jennifer" userId="90ca4e73-972a-4817-9115-62e5a11e9cb0" providerId="ADAL" clId="{70AE1F1B-43E6-4DDF-930B-0901CEFB9EB7}" dt="2021-07-21T19:35:46.284" v="55" actId="478"/>
          <ac:spMkLst>
            <pc:docMk/>
            <pc:sldMk cId="3704759820" sldId="358"/>
            <ac:spMk id="8" creationId="{5510BFD7-9E22-412A-B7BC-1AA9993F7639}"/>
          </ac:spMkLst>
        </pc:spChg>
        <pc:spChg chg="del">
          <ac:chgData name="RODRIGUEZ Jennifer" userId="90ca4e73-972a-4817-9115-62e5a11e9cb0" providerId="ADAL" clId="{70AE1F1B-43E6-4DDF-930B-0901CEFB9EB7}" dt="2021-07-21T19:35:46.284" v="55" actId="478"/>
          <ac:spMkLst>
            <pc:docMk/>
            <pc:sldMk cId="3704759820" sldId="358"/>
            <ac:spMk id="9" creationId="{A44893BD-3C6A-41BB-A2C9-7F99FBF6F767}"/>
          </ac:spMkLst>
        </pc:spChg>
        <pc:spChg chg="add del mod">
          <ac:chgData name="RODRIGUEZ Jennifer" userId="90ca4e73-972a-4817-9115-62e5a11e9cb0" providerId="ADAL" clId="{70AE1F1B-43E6-4DDF-930B-0901CEFB9EB7}" dt="2021-07-21T19:37:22.566" v="107" actId="478"/>
          <ac:spMkLst>
            <pc:docMk/>
            <pc:sldMk cId="3704759820" sldId="358"/>
            <ac:spMk id="10" creationId="{D14CE222-E85C-46D6-A305-3D959EA2E19E}"/>
          </ac:spMkLst>
        </pc:spChg>
        <pc:spChg chg="add mod">
          <ac:chgData name="RODRIGUEZ Jennifer" userId="90ca4e73-972a-4817-9115-62e5a11e9cb0" providerId="ADAL" clId="{70AE1F1B-43E6-4DDF-930B-0901CEFB9EB7}" dt="2021-07-21T19:55:27.318" v="186" actId="20577"/>
          <ac:spMkLst>
            <pc:docMk/>
            <pc:sldMk cId="3704759820" sldId="358"/>
            <ac:spMk id="11" creationId="{42C151D0-3AA8-4EAF-BD8A-0DE9A869384E}"/>
          </ac:spMkLst>
        </pc:spChg>
        <pc:spChg chg="del">
          <ac:chgData name="RODRIGUEZ Jennifer" userId="90ca4e73-972a-4817-9115-62e5a11e9cb0" providerId="ADAL" clId="{70AE1F1B-43E6-4DDF-930B-0901CEFB9EB7}" dt="2021-07-21T19:38:04.655" v="120" actId="478"/>
          <ac:spMkLst>
            <pc:docMk/>
            <pc:sldMk cId="3704759820" sldId="358"/>
            <ac:spMk id="27" creationId="{99ADC998-FD61-4258-8B3A-611AB193A7FB}"/>
          </ac:spMkLst>
        </pc:spChg>
        <pc:spChg chg="del mod">
          <ac:chgData name="RODRIGUEZ Jennifer" userId="90ca4e73-972a-4817-9115-62e5a11e9cb0" providerId="ADAL" clId="{70AE1F1B-43E6-4DDF-930B-0901CEFB9EB7}" dt="2021-07-21T19:38:01.547" v="119" actId="478"/>
          <ac:spMkLst>
            <pc:docMk/>
            <pc:sldMk cId="3704759820" sldId="358"/>
            <ac:spMk id="28" creationId="{61A66C27-67F1-4CA5-9E16-D8CBFCBB3057}"/>
          </ac:spMkLst>
        </pc:spChg>
      </pc:sldChg>
      <pc:sldChg chg="addSp delSp modSp mod">
        <pc:chgData name="RODRIGUEZ Jennifer" userId="90ca4e73-972a-4817-9115-62e5a11e9cb0" providerId="ADAL" clId="{70AE1F1B-43E6-4DDF-930B-0901CEFB9EB7}" dt="2021-07-21T20:18:41.704" v="799" actId="14100"/>
        <pc:sldMkLst>
          <pc:docMk/>
          <pc:sldMk cId="2472873355" sldId="360"/>
        </pc:sldMkLst>
        <pc:spChg chg="del mod">
          <ac:chgData name="RODRIGUEZ Jennifer" userId="90ca4e73-972a-4817-9115-62e5a11e9cb0" providerId="ADAL" clId="{70AE1F1B-43E6-4DDF-930B-0901CEFB9EB7}" dt="2021-07-21T20:15:59.252" v="775" actId="478"/>
          <ac:spMkLst>
            <pc:docMk/>
            <pc:sldMk cId="2472873355" sldId="360"/>
            <ac:spMk id="2" creationId="{C26E9B61-316E-4489-958B-B200221416DA}"/>
          </ac:spMkLst>
        </pc:spChg>
        <pc:spChg chg="add del mod">
          <ac:chgData name="RODRIGUEZ Jennifer" userId="90ca4e73-972a-4817-9115-62e5a11e9cb0" providerId="ADAL" clId="{70AE1F1B-43E6-4DDF-930B-0901CEFB9EB7}" dt="2021-07-21T20:16:38.315" v="778" actId="478"/>
          <ac:spMkLst>
            <pc:docMk/>
            <pc:sldMk cId="2472873355" sldId="360"/>
            <ac:spMk id="4" creationId="{0F18A1EC-224F-4DFA-9B6D-766328F68951}"/>
          </ac:spMkLst>
        </pc:spChg>
        <pc:spChg chg="add del mod">
          <ac:chgData name="RODRIGUEZ Jennifer" userId="90ca4e73-972a-4817-9115-62e5a11e9cb0" providerId="ADAL" clId="{70AE1F1B-43E6-4DDF-930B-0901CEFB9EB7}" dt="2021-07-21T20:16:34.886" v="776" actId="478"/>
          <ac:spMkLst>
            <pc:docMk/>
            <pc:sldMk cId="2472873355" sldId="360"/>
            <ac:spMk id="6" creationId="{D1B1FFD0-5A76-4AF2-A7A9-7A896C947C43}"/>
          </ac:spMkLst>
        </pc:spChg>
        <pc:spChg chg="mod">
          <ac:chgData name="RODRIGUEZ Jennifer" userId="90ca4e73-972a-4817-9115-62e5a11e9cb0" providerId="ADAL" clId="{70AE1F1B-43E6-4DDF-930B-0901CEFB9EB7}" dt="2021-07-21T20:00:04.565" v="268" actId="404"/>
          <ac:spMkLst>
            <pc:docMk/>
            <pc:sldMk cId="2472873355" sldId="360"/>
            <ac:spMk id="7" creationId="{F93C2067-FB13-44EF-B09F-F5A5EB73114B}"/>
          </ac:spMkLst>
        </pc:spChg>
        <pc:spChg chg="mod">
          <ac:chgData name="RODRIGUEZ Jennifer" userId="90ca4e73-972a-4817-9115-62e5a11e9cb0" providerId="ADAL" clId="{70AE1F1B-43E6-4DDF-930B-0901CEFB9EB7}" dt="2021-07-21T19:59:55.807" v="265" actId="20577"/>
          <ac:spMkLst>
            <pc:docMk/>
            <pc:sldMk cId="2472873355" sldId="360"/>
            <ac:spMk id="8" creationId="{68AB0103-ECEE-4F5A-9C08-56291FE9B1CB}"/>
          </ac:spMkLst>
        </pc:spChg>
        <pc:spChg chg="del mod">
          <ac:chgData name="RODRIGUEZ Jennifer" userId="90ca4e73-972a-4817-9115-62e5a11e9cb0" providerId="ADAL" clId="{70AE1F1B-43E6-4DDF-930B-0901CEFB9EB7}" dt="2021-07-21T20:15:59.252" v="775" actId="478"/>
          <ac:spMkLst>
            <pc:docMk/>
            <pc:sldMk cId="2472873355" sldId="360"/>
            <ac:spMk id="11" creationId="{45E32AF8-8D0A-4710-947E-0BABC4A88B2C}"/>
          </ac:spMkLst>
        </pc:spChg>
        <pc:spChg chg="del mod">
          <ac:chgData name="RODRIGUEZ Jennifer" userId="90ca4e73-972a-4817-9115-62e5a11e9cb0" providerId="ADAL" clId="{70AE1F1B-43E6-4DDF-930B-0901CEFB9EB7}" dt="2021-07-21T20:15:59.252" v="775" actId="478"/>
          <ac:spMkLst>
            <pc:docMk/>
            <pc:sldMk cId="2472873355" sldId="360"/>
            <ac:spMk id="12" creationId="{E67E0DD2-2C33-489B-968C-E94BCDF48F8A}"/>
          </ac:spMkLst>
        </pc:spChg>
        <pc:spChg chg="add del mod">
          <ac:chgData name="RODRIGUEZ Jennifer" userId="90ca4e73-972a-4817-9115-62e5a11e9cb0" providerId="ADAL" clId="{70AE1F1B-43E6-4DDF-930B-0901CEFB9EB7}" dt="2021-07-21T20:16:38.315" v="778" actId="478"/>
          <ac:spMkLst>
            <pc:docMk/>
            <pc:sldMk cId="2472873355" sldId="360"/>
            <ac:spMk id="13" creationId="{266A50DD-C7F2-463C-BBD7-81BF7996F9E2}"/>
          </ac:spMkLst>
        </pc:spChg>
        <pc:spChg chg="add del mod">
          <ac:chgData name="RODRIGUEZ Jennifer" userId="90ca4e73-972a-4817-9115-62e5a11e9cb0" providerId="ADAL" clId="{70AE1F1B-43E6-4DDF-930B-0901CEFB9EB7}" dt="2021-07-21T20:15:59.252" v="775" actId="478"/>
          <ac:spMkLst>
            <pc:docMk/>
            <pc:sldMk cId="2472873355" sldId="360"/>
            <ac:spMk id="15" creationId="{E9D6291A-836B-4A8F-8D08-9A2A893218E5}"/>
          </ac:spMkLst>
        </pc:spChg>
        <pc:spChg chg="add mod">
          <ac:chgData name="RODRIGUEZ Jennifer" userId="90ca4e73-972a-4817-9115-62e5a11e9cb0" providerId="ADAL" clId="{70AE1F1B-43E6-4DDF-930B-0901CEFB9EB7}" dt="2021-07-21T20:17:23.201" v="788" actId="207"/>
          <ac:spMkLst>
            <pc:docMk/>
            <pc:sldMk cId="2472873355" sldId="360"/>
            <ac:spMk id="17" creationId="{3A0EA408-D338-4173-9036-423F2FBE8B05}"/>
          </ac:spMkLst>
        </pc:spChg>
        <pc:spChg chg="add del mod">
          <ac:chgData name="RODRIGUEZ Jennifer" userId="90ca4e73-972a-4817-9115-62e5a11e9cb0" providerId="ADAL" clId="{70AE1F1B-43E6-4DDF-930B-0901CEFB9EB7}" dt="2021-07-21T20:16:34.886" v="776" actId="478"/>
          <ac:spMkLst>
            <pc:docMk/>
            <pc:sldMk cId="2472873355" sldId="360"/>
            <ac:spMk id="19" creationId="{1BF19BBF-DF4F-4682-B746-3064A281465E}"/>
          </ac:spMkLst>
        </pc:spChg>
        <pc:spChg chg="add del mod">
          <ac:chgData name="RODRIGUEZ Jennifer" userId="90ca4e73-972a-4817-9115-62e5a11e9cb0" providerId="ADAL" clId="{70AE1F1B-43E6-4DDF-930B-0901CEFB9EB7}" dt="2021-07-21T20:16:38.315" v="778" actId="478"/>
          <ac:spMkLst>
            <pc:docMk/>
            <pc:sldMk cId="2472873355" sldId="360"/>
            <ac:spMk id="23" creationId="{6F24CD5B-77D6-4297-8833-5A9E0005197A}"/>
          </ac:spMkLst>
        </pc:spChg>
        <pc:spChg chg="add del mod">
          <ac:chgData name="RODRIGUEZ Jennifer" userId="90ca4e73-972a-4817-9115-62e5a11e9cb0" providerId="ADAL" clId="{70AE1F1B-43E6-4DDF-930B-0901CEFB9EB7}" dt="2021-07-21T20:16:38.315" v="778" actId="478"/>
          <ac:spMkLst>
            <pc:docMk/>
            <pc:sldMk cId="2472873355" sldId="360"/>
            <ac:spMk id="25" creationId="{7890CBDA-EC9E-4613-A884-2F4B8160D7C8}"/>
          </ac:spMkLst>
        </pc:spChg>
        <pc:picChg chg="add del mod">
          <ac:chgData name="RODRIGUEZ Jennifer" userId="90ca4e73-972a-4817-9115-62e5a11e9cb0" providerId="ADAL" clId="{70AE1F1B-43E6-4DDF-930B-0901CEFB9EB7}" dt="2021-07-21T20:15:59.252" v="775" actId="478"/>
          <ac:picMkLst>
            <pc:docMk/>
            <pc:sldMk cId="2472873355" sldId="360"/>
            <ac:picMk id="14" creationId="{A9082CBD-DC9F-4467-AFBA-0248165BFC0B}"/>
          </ac:picMkLst>
        </pc:picChg>
        <pc:picChg chg="del mod">
          <ac:chgData name="RODRIGUEZ Jennifer" userId="90ca4e73-972a-4817-9115-62e5a11e9cb0" providerId="ADAL" clId="{70AE1F1B-43E6-4DDF-930B-0901CEFB9EB7}" dt="2021-07-21T20:15:59.252" v="775" actId="478"/>
          <ac:picMkLst>
            <pc:docMk/>
            <pc:sldMk cId="2472873355" sldId="360"/>
            <ac:picMk id="16" creationId="{D5C45381-BA6C-47ED-9F26-B1AE79E02898}"/>
          </ac:picMkLst>
        </pc:picChg>
        <pc:picChg chg="del mod">
          <ac:chgData name="RODRIGUEZ Jennifer" userId="90ca4e73-972a-4817-9115-62e5a11e9cb0" providerId="ADAL" clId="{70AE1F1B-43E6-4DDF-930B-0901CEFB9EB7}" dt="2021-07-21T20:15:59.252" v="775" actId="478"/>
          <ac:picMkLst>
            <pc:docMk/>
            <pc:sldMk cId="2472873355" sldId="360"/>
            <ac:picMk id="20" creationId="{6CBC1913-5C62-415A-9370-7A411C806381}"/>
          </ac:picMkLst>
        </pc:picChg>
        <pc:picChg chg="del mod">
          <ac:chgData name="RODRIGUEZ Jennifer" userId="90ca4e73-972a-4817-9115-62e5a11e9cb0" providerId="ADAL" clId="{70AE1F1B-43E6-4DDF-930B-0901CEFB9EB7}" dt="2021-07-21T20:15:59.252" v="775" actId="478"/>
          <ac:picMkLst>
            <pc:docMk/>
            <pc:sldMk cId="2472873355" sldId="360"/>
            <ac:picMk id="22" creationId="{4B6292EF-BD9A-4F84-90C0-1B51DDF8B47A}"/>
          </ac:picMkLst>
        </pc:picChg>
        <pc:picChg chg="add mod">
          <ac:chgData name="RODRIGUEZ Jennifer" userId="90ca4e73-972a-4817-9115-62e5a11e9cb0" providerId="ADAL" clId="{70AE1F1B-43E6-4DDF-930B-0901CEFB9EB7}" dt="2021-07-21T20:16:48.965" v="782" actId="14100"/>
          <ac:picMkLst>
            <pc:docMk/>
            <pc:sldMk cId="2472873355" sldId="360"/>
            <ac:picMk id="26" creationId="{33D9986B-49D8-45BE-9A9F-2FA295CAD383}"/>
          </ac:picMkLst>
        </pc:picChg>
        <pc:picChg chg="add mod">
          <ac:chgData name="RODRIGUEZ Jennifer" userId="90ca4e73-972a-4817-9115-62e5a11e9cb0" providerId="ADAL" clId="{70AE1F1B-43E6-4DDF-930B-0901CEFB9EB7}" dt="2021-07-21T20:17:33.263" v="789" actId="14100"/>
          <ac:picMkLst>
            <pc:docMk/>
            <pc:sldMk cId="2472873355" sldId="360"/>
            <ac:picMk id="27" creationId="{6CFC9519-3FAE-4A37-9BC4-B3688FB4BBF4}"/>
          </ac:picMkLst>
        </pc:picChg>
        <pc:picChg chg="add mod">
          <ac:chgData name="RODRIGUEZ Jennifer" userId="90ca4e73-972a-4817-9115-62e5a11e9cb0" providerId="ADAL" clId="{70AE1F1B-43E6-4DDF-930B-0901CEFB9EB7}" dt="2021-07-21T20:18:10.760" v="794" actId="14100"/>
          <ac:picMkLst>
            <pc:docMk/>
            <pc:sldMk cId="2472873355" sldId="360"/>
            <ac:picMk id="28" creationId="{F14EF053-B5CF-4460-B265-A28EF3081FB9}"/>
          </ac:picMkLst>
        </pc:picChg>
        <pc:picChg chg="add mod">
          <ac:chgData name="RODRIGUEZ Jennifer" userId="90ca4e73-972a-4817-9115-62e5a11e9cb0" providerId="ADAL" clId="{70AE1F1B-43E6-4DDF-930B-0901CEFB9EB7}" dt="2021-07-21T20:18:41.704" v="799" actId="14100"/>
          <ac:picMkLst>
            <pc:docMk/>
            <pc:sldMk cId="2472873355" sldId="360"/>
            <ac:picMk id="29" creationId="{12BCE4BA-AAF2-47AD-A9D3-9B6974799FB2}"/>
          </ac:picMkLst>
        </pc:picChg>
      </pc:sldChg>
      <pc:sldChg chg="del">
        <pc:chgData name="RODRIGUEZ Jennifer" userId="90ca4e73-972a-4817-9115-62e5a11e9cb0" providerId="ADAL" clId="{70AE1F1B-43E6-4DDF-930B-0901CEFB9EB7}" dt="2021-07-21T20:01:44.225" v="344" actId="47"/>
        <pc:sldMkLst>
          <pc:docMk/>
          <pc:sldMk cId="667624816" sldId="361"/>
        </pc:sldMkLst>
      </pc:sldChg>
      <pc:sldChg chg="del">
        <pc:chgData name="RODRIGUEZ Jennifer" userId="90ca4e73-972a-4817-9115-62e5a11e9cb0" providerId="ADAL" clId="{70AE1F1B-43E6-4DDF-930B-0901CEFB9EB7}" dt="2021-07-21T20:01:46.667" v="347" actId="47"/>
        <pc:sldMkLst>
          <pc:docMk/>
          <pc:sldMk cId="1074050150" sldId="362"/>
        </pc:sldMkLst>
      </pc:sldChg>
      <pc:sldChg chg="del">
        <pc:chgData name="RODRIGUEZ Jennifer" userId="90ca4e73-972a-4817-9115-62e5a11e9cb0" providerId="ADAL" clId="{70AE1F1B-43E6-4DDF-930B-0901CEFB9EB7}" dt="2021-07-21T20:09:38.583" v="681" actId="47"/>
        <pc:sldMkLst>
          <pc:docMk/>
          <pc:sldMk cId="420166768" sldId="364"/>
        </pc:sldMkLst>
      </pc:sldChg>
      <pc:sldChg chg="del">
        <pc:chgData name="RODRIGUEZ Jennifer" userId="90ca4e73-972a-4817-9115-62e5a11e9cb0" providerId="ADAL" clId="{70AE1F1B-43E6-4DDF-930B-0901CEFB9EB7}" dt="2021-07-21T20:09:38.016" v="680" actId="47"/>
        <pc:sldMkLst>
          <pc:docMk/>
          <pc:sldMk cId="3545740084" sldId="365"/>
        </pc:sldMkLst>
      </pc:sldChg>
      <pc:sldChg chg="del">
        <pc:chgData name="RODRIGUEZ Jennifer" userId="90ca4e73-972a-4817-9115-62e5a11e9cb0" providerId="ADAL" clId="{70AE1F1B-43E6-4DDF-930B-0901CEFB9EB7}" dt="2021-07-21T20:09:39.118" v="682" actId="47"/>
        <pc:sldMkLst>
          <pc:docMk/>
          <pc:sldMk cId="302996629" sldId="366"/>
        </pc:sldMkLst>
      </pc:sldChg>
      <pc:sldChg chg="del">
        <pc:chgData name="RODRIGUEZ Jennifer" userId="90ca4e73-972a-4817-9115-62e5a11e9cb0" providerId="ADAL" clId="{70AE1F1B-43E6-4DDF-930B-0901CEFB9EB7}" dt="2021-07-21T20:09:40.029" v="683" actId="47"/>
        <pc:sldMkLst>
          <pc:docMk/>
          <pc:sldMk cId="683204454" sldId="367"/>
        </pc:sldMkLst>
      </pc:sldChg>
      <pc:sldChg chg="del">
        <pc:chgData name="RODRIGUEZ Jennifer" userId="90ca4e73-972a-4817-9115-62e5a11e9cb0" providerId="ADAL" clId="{70AE1F1B-43E6-4DDF-930B-0901CEFB9EB7}" dt="2021-07-21T19:26:51.192" v="6" actId="47"/>
        <pc:sldMkLst>
          <pc:docMk/>
          <pc:sldMk cId="1816372874" sldId="371"/>
        </pc:sldMkLst>
      </pc:sldChg>
      <pc:sldChg chg="del">
        <pc:chgData name="RODRIGUEZ Jennifer" userId="90ca4e73-972a-4817-9115-62e5a11e9cb0" providerId="ADAL" clId="{70AE1F1B-43E6-4DDF-930B-0901CEFB9EB7}" dt="2021-07-21T19:26:52.917" v="8" actId="47"/>
        <pc:sldMkLst>
          <pc:docMk/>
          <pc:sldMk cId="3062129535" sldId="372"/>
        </pc:sldMkLst>
      </pc:sldChg>
      <pc:sldChg chg="del">
        <pc:chgData name="RODRIGUEZ Jennifer" userId="90ca4e73-972a-4817-9115-62e5a11e9cb0" providerId="ADAL" clId="{70AE1F1B-43E6-4DDF-930B-0901CEFB9EB7}" dt="2021-07-21T19:26:56.389" v="10" actId="47"/>
        <pc:sldMkLst>
          <pc:docMk/>
          <pc:sldMk cId="1833310688" sldId="373"/>
        </pc:sldMkLst>
      </pc:sldChg>
      <pc:sldChg chg="addSp delSp modSp mod">
        <pc:chgData name="RODRIGUEZ Jennifer" userId="90ca4e73-972a-4817-9115-62e5a11e9cb0" providerId="ADAL" clId="{70AE1F1B-43E6-4DDF-930B-0901CEFB9EB7}" dt="2021-07-21T19:33:54.818" v="52" actId="20577"/>
        <pc:sldMkLst>
          <pc:docMk/>
          <pc:sldMk cId="4060852319" sldId="374"/>
        </pc:sldMkLst>
        <pc:spChg chg="del">
          <ac:chgData name="RODRIGUEZ Jennifer" userId="90ca4e73-972a-4817-9115-62e5a11e9cb0" providerId="ADAL" clId="{70AE1F1B-43E6-4DDF-930B-0901CEFB9EB7}" dt="2021-07-21T19:31:34.298" v="45" actId="478"/>
          <ac:spMkLst>
            <pc:docMk/>
            <pc:sldMk cId="4060852319" sldId="374"/>
            <ac:spMk id="2" creationId="{37B69F4E-C74E-458E-B28F-5DFD1AD43756}"/>
          </ac:spMkLst>
        </pc:spChg>
        <pc:spChg chg="mod">
          <ac:chgData name="RODRIGUEZ Jennifer" userId="90ca4e73-972a-4817-9115-62e5a11e9cb0" providerId="ADAL" clId="{70AE1F1B-43E6-4DDF-930B-0901CEFB9EB7}" dt="2021-07-21T19:31:25.103" v="44" actId="20577"/>
          <ac:spMkLst>
            <pc:docMk/>
            <pc:sldMk cId="4060852319" sldId="374"/>
            <ac:spMk id="3" creationId="{796A66D3-3A7D-4EB0-A177-C6D263940B78}"/>
          </ac:spMkLst>
        </pc:spChg>
        <pc:spChg chg="mod">
          <ac:chgData name="RODRIGUEZ Jennifer" userId="90ca4e73-972a-4817-9115-62e5a11e9cb0" providerId="ADAL" clId="{70AE1F1B-43E6-4DDF-930B-0901CEFB9EB7}" dt="2021-07-21T19:33:54.818" v="52" actId="20577"/>
          <ac:spMkLst>
            <pc:docMk/>
            <pc:sldMk cId="4060852319" sldId="374"/>
            <ac:spMk id="4" creationId="{1B64AA3F-5C65-4447-9494-AE3BA11CB5A9}"/>
          </ac:spMkLst>
        </pc:spChg>
        <pc:spChg chg="add del mod">
          <ac:chgData name="RODRIGUEZ Jennifer" userId="90ca4e73-972a-4817-9115-62e5a11e9cb0" providerId="ADAL" clId="{70AE1F1B-43E6-4DDF-930B-0901CEFB9EB7}" dt="2021-07-21T19:31:37.288" v="46" actId="478"/>
          <ac:spMkLst>
            <pc:docMk/>
            <pc:sldMk cId="4060852319" sldId="374"/>
            <ac:spMk id="6" creationId="{B74B9DB6-A0D6-461C-AD4F-99496F1E9CEC}"/>
          </ac:spMkLst>
        </pc:spChg>
      </pc:sldChg>
      <pc:sldChg chg="del">
        <pc:chgData name="RODRIGUEZ Jennifer" userId="90ca4e73-972a-4817-9115-62e5a11e9cb0" providerId="ADAL" clId="{70AE1F1B-43E6-4DDF-930B-0901CEFB9EB7}" dt="2021-07-21T19:34:07.504" v="53" actId="47"/>
        <pc:sldMkLst>
          <pc:docMk/>
          <pc:sldMk cId="1894830942" sldId="375"/>
        </pc:sldMkLst>
      </pc:sldChg>
      <pc:sldChg chg="modSp del mod">
        <pc:chgData name="RODRIGUEZ Jennifer" userId="90ca4e73-972a-4817-9115-62e5a11e9cb0" providerId="ADAL" clId="{70AE1F1B-43E6-4DDF-930B-0901CEFB9EB7}" dt="2021-07-21T19:48:57.528" v="138" actId="47"/>
        <pc:sldMkLst>
          <pc:docMk/>
          <pc:sldMk cId="509213417" sldId="376"/>
        </pc:sldMkLst>
        <pc:spChg chg="mod">
          <ac:chgData name="RODRIGUEZ Jennifer" userId="90ca4e73-972a-4817-9115-62e5a11e9cb0" providerId="ADAL" clId="{70AE1F1B-43E6-4DDF-930B-0901CEFB9EB7}" dt="2021-07-21T19:48:50.399" v="137" actId="20577"/>
          <ac:spMkLst>
            <pc:docMk/>
            <pc:sldMk cId="509213417" sldId="376"/>
            <ac:spMk id="9" creationId="{A44893BD-3C6A-41BB-A2C9-7F99FBF6F767}"/>
          </ac:spMkLst>
        </pc:spChg>
      </pc:sldChg>
      <pc:sldChg chg="del">
        <pc:chgData name="RODRIGUEZ Jennifer" userId="90ca4e73-972a-4817-9115-62e5a11e9cb0" providerId="ADAL" clId="{70AE1F1B-43E6-4DDF-930B-0901CEFB9EB7}" dt="2021-07-21T20:01:47.707" v="348" actId="47"/>
        <pc:sldMkLst>
          <pc:docMk/>
          <pc:sldMk cId="931117722" sldId="377"/>
        </pc:sldMkLst>
      </pc:sldChg>
      <pc:sldChg chg="modSp mod">
        <pc:chgData name="RODRIGUEZ Jennifer" userId="90ca4e73-972a-4817-9115-62e5a11e9cb0" providerId="ADAL" clId="{70AE1F1B-43E6-4DDF-930B-0901CEFB9EB7}" dt="2021-07-21T20:19:54.822" v="800" actId="6549"/>
        <pc:sldMkLst>
          <pc:docMk/>
          <pc:sldMk cId="1838514481" sldId="378"/>
        </pc:sldMkLst>
        <pc:spChg chg="mod">
          <ac:chgData name="RODRIGUEZ Jennifer" userId="90ca4e73-972a-4817-9115-62e5a11e9cb0" providerId="ADAL" clId="{70AE1F1B-43E6-4DDF-930B-0901CEFB9EB7}" dt="2021-07-21T20:19:54.822" v="800" actId="6549"/>
          <ac:spMkLst>
            <pc:docMk/>
            <pc:sldMk cId="1838514481" sldId="378"/>
            <ac:spMk id="14" creationId="{FBFFF7AB-89C3-47F7-A2DB-FFA11B68BC87}"/>
          </ac:spMkLst>
        </pc:spChg>
      </pc:sldChg>
      <pc:sldChg chg="del">
        <pc:chgData name="RODRIGUEZ Jennifer" userId="90ca4e73-972a-4817-9115-62e5a11e9cb0" providerId="ADAL" clId="{70AE1F1B-43E6-4DDF-930B-0901CEFB9EB7}" dt="2021-07-21T20:09:42.441" v="686" actId="47"/>
        <pc:sldMkLst>
          <pc:docMk/>
          <pc:sldMk cId="1151845951" sldId="379"/>
        </pc:sldMkLst>
      </pc:sldChg>
      <pc:sldChg chg="del">
        <pc:chgData name="RODRIGUEZ Jennifer" userId="90ca4e73-972a-4817-9115-62e5a11e9cb0" providerId="ADAL" clId="{70AE1F1B-43E6-4DDF-930B-0901CEFB9EB7}" dt="2021-07-21T19:26:45.707" v="0" actId="47"/>
        <pc:sldMkLst>
          <pc:docMk/>
          <pc:sldMk cId="1699365923" sldId="382"/>
        </pc:sldMkLst>
      </pc:sldChg>
      <pc:sldChg chg="addSp modSp add mod setBg">
        <pc:chgData name="RODRIGUEZ Jennifer" userId="90ca4e73-972a-4817-9115-62e5a11e9cb0" providerId="ADAL" clId="{70AE1F1B-43E6-4DDF-930B-0901CEFB9EB7}" dt="2021-07-21T20:14:56.906" v="774" actId="20577"/>
        <pc:sldMkLst>
          <pc:docMk/>
          <pc:sldMk cId="4049816323" sldId="382"/>
        </pc:sldMkLst>
        <pc:spChg chg="mod">
          <ac:chgData name="RODRIGUEZ Jennifer" userId="90ca4e73-972a-4817-9115-62e5a11e9cb0" providerId="ADAL" clId="{70AE1F1B-43E6-4DDF-930B-0901CEFB9EB7}" dt="2021-07-21T20:11:56.185" v="725" actId="20577"/>
          <ac:spMkLst>
            <pc:docMk/>
            <pc:sldMk cId="4049816323" sldId="382"/>
            <ac:spMk id="3" creationId="{796A66D3-3A7D-4EB0-A177-C6D263940B78}"/>
          </ac:spMkLst>
        </pc:spChg>
        <pc:spChg chg="mod">
          <ac:chgData name="RODRIGUEZ Jennifer" userId="90ca4e73-972a-4817-9115-62e5a11e9cb0" providerId="ADAL" clId="{70AE1F1B-43E6-4DDF-930B-0901CEFB9EB7}" dt="2021-07-21T20:13:12.138" v="750" actId="20577"/>
          <ac:spMkLst>
            <pc:docMk/>
            <pc:sldMk cId="4049816323" sldId="382"/>
            <ac:spMk id="4" creationId="{1B64AA3F-5C65-4447-9494-AE3BA11CB5A9}"/>
          </ac:spMkLst>
        </pc:spChg>
        <pc:spChg chg="add mod">
          <ac:chgData name="RODRIGUEZ Jennifer" userId="90ca4e73-972a-4817-9115-62e5a11e9cb0" providerId="ADAL" clId="{70AE1F1B-43E6-4DDF-930B-0901CEFB9EB7}" dt="2021-07-21T20:14:56.906" v="774" actId="20577"/>
          <ac:spMkLst>
            <pc:docMk/>
            <pc:sldMk cId="4049816323" sldId="382"/>
            <ac:spMk id="6" creationId="{6F43C54D-CFF1-4498-A741-70C9213C5B04}"/>
          </ac:spMkLst>
        </pc:spChg>
        <pc:picChg chg="add mod ord">
          <ac:chgData name="RODRIGUEZ Jennifer" userId="90ca4e73-972a-4817-9115-62e5a11e9cb0" providerId="ADAL" clId="{70AE1F1B-43E6-4DDF-930B-0901CEFB9EB7}" dt="2021-07-21T20:14:42.243" v="769" actId="1076"/>
          <ac:picMkLst>
            <pc:docMk/>
            <pc:sldMk cId="4049816323" sldId="382"/>
            <ac:picMk id="5" creationId="{08B1F9D0-BBDC-4890-8CFB-3B3926105D41}"/>
          </ac:picMkLst>
        </pc:picChg>
      </pc:sldChg>
      <pc:sldChg chg="del">
        <pc:chgData name="RODRIGUEZ Jennifer" userId="90ca4e73-972a-4817-9115-62e5a11e9cb0" providerId="ADAL" clId="{70AE1F1B-43E6-4DDF-930B-0901CEFB9EB7}" dt="2021-07-21T20:09:45.564" v="690" actId="47"/>
        <pc:sldMkLst>
          <pc:docMk/>
          <pc:sldMk cId="369466833" sldId="388"/>
        </pc:sldMkLst>
      </pc:sldChg>
      <pc:sldChg chg="del">
        <pc:chgData name="RODRIGUEZ Jennifer" userId="90ca4e73-972a-4817-9115-62e5a11e9cb0" providerId="ADAL" clId="{70AE1F1B-43E6-4DDF-930B-0901CEFB9EB7}" dt="2021-07-21T20:01:44.943" v="345" actId="47"/>
        <pc:sldMkLst>
          <pc:docMk/>
          <pc:sldMk cId="3456683974" sldId="393"/>
        </pc:sldMkLst>
      </pc:sldChg>
      <pc:sldChg chg="del">
        <pc:chgData name="RODRIGUEZ Jennifer" userId="90ca4e73-972a-4817-9115-62e5a11e9cb0" providerId="ADAL" clId="{70AE1F1B-43E6-4DDF-930B-0901CEFB9EB7}" dt="2021-07-21T19:26:49.208" v="3" actId="47"/>
        <pc:sldMkLst>
          <pc:docMk/>
          <pc:sldMk cId="3970363225" sldId="395"/>
        </pc:sldMkLst>
      </pc:sldChg>
      <pc:sldChg chg="del">
        <pc:chgData name="RODRIGUEZ Jennifer" userId="90ca4e73-972a-4817-9115-62e5a11e9cb0" providerId="ADAL" clId="{70AE1F1B-43E6-4DDF-930B-0901CEFB9EB7}" dt="2021-07-21T20:09:40.852" v="684" actId="47"/>
        <pc:sldMkLst>
          <pc:docMk/>
          <pc:sldMk cId="3493091281" sldId="398"/>
        </pc:sldMkLst>
      </pc:sldChg>
      <pc:sldChg chg="del">
        <pc:chgData name="RODRIGUEZ Jennifer" userId="90ca4e73-972a-4817-9115-62e5a11e9cb0" providerId="ADAL" clId="{70AE1F1B-43E6-4DDF-930B-0901CEFB9EB7}" dt="2021-07-21T20:09:41.682" v="685" actId="47"/>
        <pc:sldMkLst>
          <pc:docMk/>
          <pc:sldMk cId="2083116859" sldId="399"/>
        </pc:sldMkLst>
      </pc:sldChg>
      <pc:sldChg chg="del">
        <pc:chgData name="RODRIGUEZ Jennifer" userId="90ca4e73-972a-4817-9115-62e5a11e9cb0" providerId="ADAL" clId="{70AE1F1B-43E6-4DDF-930B-0901CEFB9EB7}" dt="2021-07-21T19:26:50.677" v="5" actId="47"/>
        <pc:sldMkLst>
          <pc:docMk/>
          <pc:sldMk cId="2863840338" sldId="400"/>
        </pc:sldMkLst>
      </pc:sldChg>
      <pc:sldChg chg="del">
        <pc:chgData name="RODRIGUEZ Jennifer" userId="90ca4e73-972a-4817-9115-62e5a11e9cb0" providerId="ADAL" clId="{70AE1F1B-43E6-4DDF-930B-0901CEFB9EB7}" dt="2021-07-21T19:26:51.779" v="7" actId="47"/>
        <pc:sldMkLst>
          <pc:docMk/>
          <pc:sldMk cId="3783342349" sldId="401"/>
        </pc:sldMkLst>
      </pc:sldChg>
      <pc:sldChg chg="del">
        <pc:chgData name="RODRIGUEZ Jennifer" userId="90ca4e73-972a-4817-9115-62e5a11e9cb0" providerId="ADAL" clId="{70AE1F1B-43E6-4DDF-930B-0901CEFB9EB7}" dt="2021-07-21T20:01:45.798" v="346" actId="47"/>
        <pc:sldMkLst>
          <pc:docMk/>
          <pc:sldMk cId="993099965" sldId="402"/>
        </pc:sldMkLst>
      </pc:sldChg>
      <pc:sldChg chg="del">
        <pc:chgData name="RODRIGUEZ Jennifer" userId="90ca4e73-972a-4817-9115-62e5a11e9cb0" providerId="ADAL" clId="{70AE1F1B-43E6-4DDF-930B-0901CEFB9EB7}" dt="2021-07-21T20:09:44.475" v="689" actId="47"/>
        <pc:sldMkLst>
          <pc:docMk/>
          <pc:sldMk cId="323005418" sldId="403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B90E6E-680F-4778-8E2A-814EE8C5DD0F}" type="datetimeFigureOut">
              <a:rPr lang="en-GB" smtClean="0"/>
              <a:t>21/07/2021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FDAC1A-265C-4579-A922-424BE345797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10452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232D6E-9C51-45AA-B5E7-90582F1AF6BA}" type="datetimeFigureOut">
              <a:rPr lang="en-GB" smtClean="0"/>
              <a:t>21/07/2021</a:t>
            </a:fld>
            <a:endParaRPr lang="en-GB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C79413-B00C-4EAA-B330-AE2D434573B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4377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microsoft.com/office/2007/relationships/media" Target="../media/media2.mp4"/><Relationship Id="rId7" Type="http://schemas.openxmlformats.org/officeDocument/2006/relationships/image" Target="../media/image12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1.jpeg"/><Relationship Id="rId5" Type="http://schemas.openxmlformats.org/officeDocument/2006/relationships/slideMaster" Target="../slideMasters/slideMaster1.xml"/><Relationship Id="rId4" Type="http://schemas.openxmlformats.org/officeDocument/2006/relationships/video" Target="../media/media2.mp4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4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13" Type="http://schemas.openxmlformats.org/officeDocument/2006/relationships/image" Target="../media/image2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jpeg"/><Relationship Id="rId12" Type="http://schemas.openxmlformats.org/officeDocument/2006/relationships/image" Target="../media/image22.jpeg"/><Relationship Id="rId17" Type="http://schemas.openxmlformats.org/officeDocument/2006/relationships/image" Target="../media/image27.png"/><Relationship Id="rId2" Type="http://schemas.openxmlformats.org/officeDocument/2006/relationships/video" Target="../media/media3.mp4"/><Relationship Id="rId16" Type="http://schemas.openxmlformats.org/officeDocument/2006/relationships/image" Target="../media/image26.png"/><Relationship Id="rId1" Type="http://schemas.microsoft.com/office/2007/relationships/media" Target="../media/media3.mp4"/><Relationship Id="rId6" Type="http://schemas.openxmlformats.org/officeDocument/2006/relationships/image" Target="../media/image16.emf"/><Relationship Id="rId11" Type="http://schemas.openxmlformats.org/officeDocument/2006/relationships/image" Target="../media/image21.jpeg"/><Relationship Id="rId5" Type="http://schemas.openxmlformats.org/officeDocument/2006/relationships/image" Target="../media/image15.emf"/><Relationship Id="rId15" Type="http://schemas.openxmlformats.org/officeDocument/2006/relationships/image" Target="../media/image25.jpeg"/><Relationship Id="rId10" Type="http://schemas.openxmlformats.org/officeDocument/2006/relationships/image" Target="../media/image20.jpeg"/><Relationship Id="rId4" Type="http://schemas.openxmlformats.org/officeDocument/2006/relationships/image" Target="../media/image11.jpeg"/><Relationship Id="rId9" Type="http://schemas.openxmlformats.org/officeDocument/2006/relationships/image" Target="../media/image19.png"/><Relationship Id="rId14" Type="http://schemas.openxmlformats.org/officeDocument/2006/relationships/image" Target="../media/image2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slide point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>
            <a:extLst>
              <a:ext uri="{FF2B5EF4-FFF2-40B4-BE49-F238E27FC236}">
                <a16:creationId xmlns:a16="http://schemas.microsoft.com/office/drawing/2014/main" id="{462935BF-890B-44A8-82AA-25B2B5A01F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918" y="3067050"/>
            <a:ext cx="2717644" cy="69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Platshållare för bild 20">
            <a:extLst>
              <a:ext uri="{FF2B5EF4-FFF2-40B4-BE49-F238E27FC236}">
                <a16:creationId xmlns:a16="http://schemas.microsoft.com/office/drawing/2014/main" id="{0EAEE30B-A865-444E-81DC-02E6A9746E8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750745" y="-31870"/>
            <a:ext cx="8460305" cy="6897600"/>
          </a:xfrm>
          <a:custGeom>
            <a:avLst/>
            <a:gdLst>
              <a:gd name="connsiteX0" fmla="*/ 0 w 9448800"/>
              <a:gd name="connsiteY0" fmla="*/ 0 h 6897600"/>
              <a:gd name="connsiteX1" fmla="*/ 9448800 w 9448800"/>
              <a:gd name="connsiteY1" fmla="*/ 0 h 6897600"/>
              <a:gd name="connsiteX2" fmla="*/ 9448800 w 9448800"/>
              <a:gd name="connsiteY2" fmla="*/ 6897600 h 6897600"/>
              <a:gd name="connsiteX3" fmla="*/ 0 w 9448800"/>
              <a:gd name="connsiteY3" fmla="*/ 6897600 h 6897600"/>
              <a:gd name="connsiteX4" fmla="*/ 0 w 9448800"/>
              <a:gd name="connsiteY4" fmla="*/ 6896850 h 6897600"/>
              <a:gd name="connsiteX5" fmla="*/ 1007545 w 9448800"/>
              <a:gd name="connsiteY5" fmla="*/ 6896850 h 6897600"/>
              <a:gd name="connsiteX6" fmla="*/ 2723875 w 9448800"/>
              <a:gd name="connsiteY6" fmla="*/ 3555970 h 6897600"/>
              <a:gd name="connsiteX7" fmla="*/ 2723815 w 9448800"/>
              <a:gd name="connsiteY7" fmla="*/ 3557416 h 6897600"/>
              <a:gd name="connsiteX8" fmla="*/ 2751642 w 9448800"/>
              <a:gd name="connsiteY8" fmla="*/ 3467848 h 6897600"/>
              <a:gd name="connsiteX9" fmla="*/ 2726196 w 9448800"/>
              <a:gd name="connsiteY9" fmla="*/ 3375898 h 6897600"/>
              <a:gd name="connsiteX10" fmla="*/ 2726546 w 9448800"/>
              <a:gd name="connsiteY10" fmla="*/ 3375927 h 6897600"/>
              <a:gd name="connsiteX11" fmla="*/ 1032945 w 9448800"/>
              <a:gd name="connsiteY11" fmla="*/ 13450 h 6897600"/>
              <a:gd name="connsiteX12" fmla="*/ 0 w 9448800"/>
              <a:gd name="connsiteY12" fmla="*/ 9984 h 6897600"/>
              <a:gd name="connsiteX0" fmla="*/ 0 w 9448800"/>
              <a:gd name="connsiteY0" fmla="*/ 9984 h 6897600"/>
              <a:gd name="connsiteX1" fmla="*/ 9448800 w 9448800"/>
              <a:gd name="connsiteY1" fmla="*/ 0 h 6897600"/>
              <a:gd name="connsiteX2" fmla="*/ 9448800 w 9448800"/>
              <a:gd name="connsiteY2" fmla="*/ 6897600 h 6897600"/>
              <a:gd name="connsiteX3" fmla="*/ 0 w 9448800"/>
              <a:gd name="connsiteY3" fmla="*/ 6897600 h 6897600"/>
              <a:gd name="connsiteX4" fmla="*/ 0 w 9448800"/>
              <a:gd name="connsiteY4" fmla="*/ 6896850 h 6897600"/>
              <a:gd name="connsiteX5" fmla="*/ 1007545 w 9448800"/>
              <a:gd name="connsiteY5" fmla="*/ 6896850 h 6897600"/>
              <a:gd name="connsiteX6" fmla="*/ 2723875 w 9448800"/>
              <a:gd name="connsiteY6" fmla="*/ 3555970 h 6897600"/>
              <a:gd name="connsiteX7" fmla="*/ 2723815 w 9448800"/>
              <a:gd name="connsiteY7" fmla="*/ 3557416 h 6897600"/>
              <a:gd name="connsiteX8" fmla="*/ 2751642 w 9448800"/>
              <a:gd name="connsiteY8" fmla="*/ 3467848 h 6897600"/>
              <a:gd name="connsiteX9" fmla="*/ 2726196 w 9448800"/>
              <a:gd name="connsiteY9" fmla="*/ 3375898 h 6897600"/>
              <a:gd name="connsiteX10" fmla="*/ 2726546 w 9448800"/>
              <a:gd name="connsiteY10" fmla="*/ 3375927 h 6897600"/>
              <a:gd name="connsiteX11" fmla="*/ 1032945 w 9448800"/>
              <a:gd name="connsiteY11" fmla="*/ 13450 h 6897600"/>
              <a:gd name="connsiteX12" fmla="*/ 0 w 9448800"/>
              <a:gd name="connsiteY12" fmla="*/ 9984 h 6897600"/>
              <a:gd name="connsiteX0" fmla="*/ 1032945 w 9448800"/>
              <a:gd name="connsiteY0" fmla="*/ 13450 h 6897600"/>
              <a:gd name="connsiteX1" fmla="*/ 9448800 w 9448800"/>
              <a:gd name="connsiteY1" fmla="*/ 0 h 6897600"/>
              <a:gd name="connsiteX2" fmla="*/ 9448800 w 9448800"/>
              <a:gd name="connsiteY2" fmla="*/ 6897600 h 6897600"/>
              <a:gd name="connsiteX3" fmla="*/ 0 w 9448800"/>
              <a:gd name="connsiteY3" fmla="*/ 6897600 h 6897600"/>
              <a:gd name="connsiteX4" fmla="*/ 0 w 9448800"/>
              <a:gd name="connsiteY4" fmla="*/ 6896850 h 6897600"/>
              <a:gd name="connsiteX5" fmla="*/ 1007545 w 9448800"/>
              <a:gd name="connsiteY5" fmla="*/ 6896850 h 6897600"/>
              <a:gd name="connsiteX6" fmla="*/ 2723875 w 9448800"/>
              <a:gd name="connsiteY6" fmla="*/ 3555970 h 6897600"/>
              <a:gd name="connsiteX7" fmla="*/ 2723815 w 9448800"/>
              <a:gd name="connsiteY7" fmla="*/ 3557416 h 6897600"/>
              <a:gd name="connsiteX8" fmla="*/ 2751642 w 9448800"/>
              <a:gd name="connsiteY8" fmla="*/ 3467848 h 6897600"/>
              <a:gd name="connsiteX9" fmla="*/ 2726196 w 9448800"/>
              <a:gd name="connsiteY9" fmla="*/ 3375898 h 6897600"/>
              <a:gd name="connsiteX10" fmla="*/ 2726546 w 9448800"/>
              <a:gd name="connsiteY10" fmla="*/ 3375927 h 6897600"/>
              <a:gd name="connsiteX11" fmla="*/ 1032945 w 9448800"/>
              <a:gd name="connsiteY11" fmla="*/ 13450 h 6897600"/>
              <a:gd name="connsiteX0" fmla="*/ 1032945 w 9448800"/>
              <a:gd name="connsiteY0" fmla="*/ 13450 h 6897600"/>
              <a:gd name="connsiteX1" fmla="*/ 9448800 w 9448800"/>
              <a:gd name="connsiteY1" fmla="*/ 0 h 6897600"/>
              <a:gd name="connsiteX2" fmla="*/ 9448800 w 9448800"/>
              <a:gd name="connsiteY2" fmla="*/ 6897600 h 6897600"/>
              <a:gd name="connsiteX3" fmla="*/ 0 w 9448800"/>
              <a:gd name="connsiteY3" fmla="*/ 6897600 h 6897600"/>
              <a:gd name="connsiteX4" fmla="*/ 1007545 w 9448800"/>
              <a:gd name="connsiteY4" fmla="*/ 6896850 h 6897600"/>
              <a:gd name="connsiteX5" fmla="*/ 2723875 w 9448800"/>
              <a:gd name="connsiteY5" fmla="*/ 3555970 h 6897600"/>
              <a:gd name="connsiteX6" fmla="*/ 2723815 w 9448800"/>
              <a:gd name="connsiteY6" fmla="*/ 3557416 h 6897600"/>
              <a:gd name="connsiteX7" fmla="*/ 2751642 w 9448800"/>
              <a:gd name="connsiteY7" fmla="*/ 3467848 h 6897600"/>
              <a:gd name="connsiteX8" fmla="*/ 2726196 w 9448800"/>
              <a:gd name="connsiteY8" fmla="*/ 3375898 h 6897600"/>
              <a:gd name="connsiteX9" fmla="*/ 2726546 w 9448800"/>
              <a:gd name="connsiteY9" fmla="*/ 3375927 h 6897600"/>
              <a:gd name="connsiteX10" fmla="*/ 1032945 w 9448800"/>
              <a:gd name="connsiteY10" fmla="*/ 13450 h 6897600"/>
              <a:gd name="connsiteX0" fmla="*/ 25400 w 8441255"/>
              <a:gd name="connsiteY0" fmla="*/ 13450 h 6897600"/>
              <a:gd name="connsiteX1" fmla="*/ 8441255 w 8441255"/>
              <a:gd name="connsiteY1" fmla="*/ 0 h 6897600"/>
              <a:gd name="connsiteX2" fmla="*/ 8441255 w 8441255"/>
              <a:gd name="connsiteY2" fmla="*/ 6897600 h 6897600"/>
              <a:gd name="connsiteX3" fmla="*/ 0 w 8441255"/>
              <a:gd name="connsiteY3" fmla="*/ 6896850 h 6897600"/>
              <a:gd name="connsiteX4" fmla="*/ 1716330 w 8441255"/>
              <a:gd name="connsiteY4" fmla="*/ 3555970 h 6897600"/>
              <a:gd name="connsiteX5" fmla="*/ 1716270 w 8441255"/>
              <a:gd name="connsiteY5" fmla="*/ 3557416 h 6897600"/>
              <a:gd name="connsiteX6" fmla="*/ 1744097 w 8441255"/>
              <a:gd name="connsiteY6" fmla="*/ 3467848 h 6897600"/>
              <a:gd name="connsiteX7" fmla="*/ 1718651 w 8441255"/>
              <a:gd name="connsiteY7" fmla="*/ 3375898 h 6897600"/>
              <a:gd name="connsiteX8" fmla="*/ 1719001 w 8441255"/>
              <a:gd name="connsiteY8" fmla="*/ 3375927 h 6897600"/>
              <a:gd name="connsiteX9" fmla="*/ 25400 w 8441255"/>
              <a:gd name="connsiteY9" fmla="*/ 13450 h 6897600"/>
              <a:gd name="connsiteX0" fmla="*/ 25400 w 8460305"/>
              <a:gd name="connsiteY0" fmla="*/ 13450 h 6897600"/>
              <a:gd name="connsiteX1" fmla="*/ 8460305 w 8460305"/>
              <a:gd name="connsiteY1" fmla="*/ 0 h 6897600"/>
              <a:gd name="connsiteX2" fmla="*/ 8441255 w 8460305"/>
              <a:gd name="connsiteY2" fmla="*/ 6897600 h 6897600"/>
              <a:gd name="connsiteX3" fmla="*/ 0 w 8460305"/>
              <a:gd name="connsiteY3" fmla="*/ 6896850 h 6897600"/>
              <a:gd name="connsiteX4" fmla="*/ 1716330 w 8460305"/>
              <a:gd name="connsiteY4" fmla="*/ 3555970 h 6897600"/>
              <a:gd name="connsiteX5" fmla="*/ 1716270 w 8460305"/>
              <a:gd name="connsiteY5" fmla="*/ 3557416 h 6897600"/>
              <a:gd name="connsiteX6" fmla="*/ 1744097 w 8460305"/>
              <a:gd name="connsiteY6" fmla="*/ 3467848 h 6897600"/>
              <a:gd name="connsiteX7" fmla="*/ 1718651 w 8460305"/>
              <a:gd name="connsiteY7" fmla="*/ 3375898 h 6897600"/>
              <a:gd name="connsiteX8" fmla="*/ 1719001 w 8460305"/>
              <a:gd name="connsiteY8" fmla="*/ 3375927 h 6897600"/>
              <a:gd name="connsiteX9" fmla="*/ 25400 w 8460305"/>
              <a:gd name="connsiteY9" fmla="*/ 13450 h 689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460305" h="6897600">
                <a:moveTo>
                  <a:pt x="25400" y="13450"/>
                </a:moveTo>
                <a:lnTo>
                  <a:pt x="8460305" y="0"/>
                </a:lnTo>
                <a:lnTo>
                  <a:pt x="8441255" y="6897600"/>
                </a:lnTo>
                <a:lnTo>
                  <a:pt x="0" y="6896850"/>
                </a:lnTo>
                <a:lnTo>
                  <a:pt x="1716330" y="3555970"/>
                </a:lnTo>
                <a:lnTo>
                  <a:pt x="1716270" y="3557416"/>
                </a:lnTo>
                <a:cubicBezTo>
                  <a:pt x="1733462" y="3534494"/>
                  <a:pt x="1743699" y="3498101"/>
                  <a:pt x="1744097" y="3467848"/>
                </a:cubicBezTo>
                <a:cubicBezTo>
                  <a:pt x="1744493" y="3437595"/>
                  <a:pt x="1735843" y="3398820"/>
                  <a:pt x="1718651" y="3375898"/>
                </a:cubicBezTo>
                <a:cubicBezTo>
                  <a:pt x="1719561" y="3375114"/>
                  <a:pt x="1718092" y="3376711"/>
                  <a:pt x="1719001" y="3375927"/>
                </a:cubicBezTo>
                <a:lnTo>
                  <a:pt x="25400" y="13450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9" name="Rektangel 8"/>
          <p:cNvSpPr/>
          <p:nvPr userDrawn="1"/>
        </p:nvSpPr>
        <p:spPr>
          <a:xfrm>
            <a:off x="-2829522" y="382055"/>
            <a:ext cx="2512620" cy="168804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dirty="0">
                <a:solidFill>
                  <a:schemeClr val="tx2"/>
                </a:solidFill>
              </a:rPr>
              <a:t>Add image by clicking on the image icon.</a:t>
            </a:r>
          </a:p>
        </p:txBody>
      </p:sp>
      <p:pic>
        <p:nvPicPr>
          <p:cNvPr id="18" name="Bildobjekt 17" descr="Essity_Arrowdevider_01_RGB_210209-01.png">
            <a:extLst>
              <a:ext uri="{FF2B5EF4-FFF2-40B4-BE49-F238E27FC236}">
                <a16:creationId xmlns:a16="http://schemas.microsoft.com/office/drawing/2014/main" id="{304AC8D8-675F-40B8-BA4C-5B09B8DCF8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939"/>
            <a:ext cx="9883477" cy="6877878"/>
          </a:xfrm>
          <a:custGeom>
            <a:avLst/>
            <a:gdLst>
              <a:gd name="connsiteX0" fmla="*/ 3780774 w 9883477"/>
              <a:gd name="connsiteY0" fmla="*/ 0 h 6877878"/>
              <a:gd name="connsiteX1" fmla="*/ 9883477 w 9883477"/>
              <a:gd name="connsiteY1" fmla="*/ 0 h 6877878"/>
              <a:gd name="connsiteX2" fmla="*/ 9883477 w 9883477"/>
              <a:gd name="connsiteY2" fmla="*/ 6877878 h 6877878"/>
              <a:gd name="connsiteX3" fmla="*/ 0 w 9883477"/>
              <a:gd name="connsiteY3" fmla="*/ 6877878 h 6877878"/>
              <a:gd name="connsiteX4" fmla="*/ 0 w 9883477"/>
              <a:gd name="connsiteY4" fmla="*/ 6874211 h 6877878"/>
              <a:gd name="connsiteX5" fmla="*/ 3750745 w 9883477"/>
              <a:gd name="connsiteY5" fmla="*/ 6874211 h 6877878"/>
              <a:gd name="connsiteX6" fmla="*/ 5467074 w 9883477"/>
              <a:gd name="connsiteY6" fmla="*/ 3533331 h 6877878"/>
              <a:gd name="connsiteX7" fmla="*/ 5467015 w 9883477"/>
              <a:gd name="connsiteY7" fmla="*/ 3534777 h 6877878"/>
              <a:gd name="connsiteX8" fmla="*/ 5494841 w 9883477"/>
              <a:gd name="connsiteY8" fmla="*/ 3445209 h 6877878"/>
              <a:gd name="connsiteX9" fmla="*/ 5469396 w 9883477"/>
              <a:gd name="connsiteY9" fmla="*/ 3353259 h 6877878"/>
              <a:gd name="connsiteX10" fmla="*/ 5469746 w 9883477"/>
              <a:gd name="connsiteY10" fmla="*/ 3353288 h 6877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883477" h="6877878">
                <a:moveTo>
                  <a:pt x="3780774" y="0"/>
                </a:moveTo>
                <a:lnTo>
                  <a:pt x="9883477" y="0"/>
                </a:lnTo>
                <a:lnTo>
                  <a:pt x="9883477" y="6877878"/>
                </a:lnTo>
                <a:lnTo>
                  <a:pt x="0" y="6877878"/>
                </a:lnTo>
                <a:lnTo>
                  <a:pt x="0" y="6874211"/>
                </a:lnTo>
                <a:lnTo>
                  <a:pt x="3750745" y="6874211"/>
                </a:lnTo>
                <a:lnTo>
                  <a:pt x="5467074" y="3533331"/>
                </a:lnTo>
                <a:cubicBezTo>
                  <a:pt x="5467054" y="3533813"/>
                  <a:pt x="5467035" y="3534295"/>
                  <a:pt x="5467015" y="3534777"/>
                </a:cubicBezTo>
                <a:cubicBezTo>
                  <a:pt x="5484207" y="3511855"/>
                  <a:pt x="5494444" y="3475462"/>
                  <a:pt x="5494841" y="3445209"/>
                </a:cubicBezTo>
                <a:cubicBezTo>
                  <a:pt x="5495238" y="3414956"/>
                  <a:pt x="5486588" y="3376181"/>
                  <a:pt x="5469396" y="3353259"/>
                </a:cubicBezTo>
                <a:cubicBezTo>
                  <a:pt x="5470306" y="3352475"/>
                  <a:pt x="5468836" y="3354072"/>
                  <a:pt x="5469746" y="3353288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7498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0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pos="7469" userDrawn="1">
          <p15:clr>
            <a:srgbClr val="FBAE40"/>
          </p15:clr>
        </p15:guide>
        <p15:guide id="4" orient="horz" pos="4110" userDrawn="1">
          <p15:clr>
            <a:srgbClr val="FBAE40"/>
          </p15:clr>
        </p15:guide>
        <p15:guide id="5" orient="horz" pos="365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 and 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35356CA-55AE-4A73-BCA3-861D99F536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489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35356CA-55AE-4A73-BCA3-861D99F536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334963" y="4171951"/>
            <a:ext cx="3728993" cy="1600200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Level two</a:t>
            </a:r>
          </a:p>
          <a:p>
            <a:pPr lvl="2"/>
            <a:r>
              <a:rPr lang="en-US" noProof="0"/>
              <a:t>Level three</a:t>
            </a:r>
          </a:p>
          <a:p>
            <a:pPr lvl="3"/>
            <a:r>
              <a:rPr lang="en-US" noProof="0"/>
              <a:t>Level four</a:t>
            </a:r>
          </a:p>
          <a:p>
            <a:pPr lvl="4"/>
            <a:r>
              <a:rPr lang="en-US" noProof="0"/>
              <a:t>Level five</a:t>
            </a:r>
          </a:p>
        </p:txBody>
      </p:sp>
      <p:sp>
        <p:nvSpPr>
          <p:cNvPr id="9" name="Platshållare för bild 6"/>
          <p:cNvSpPr>
            <a:spLocks noGrp="1"/>
          </p:cNvSpPr>
          <p:nvPr>
            <p:ph type="pic" sz="quarter" idx="15" hasCustomPrompt="1"/>
          </p:nvPr>
        </p:nvSpPr>
        <p:spPr>
          <a:xfrm>
            <a:off x="334963" y="1781417"/>
            <a:ext cx="3729037" cy="2276233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6" name="Platshållare för bild 6">
            <a:extLst>
              <a:ext uri="{FF2B5EF4-FFF2-40B4-BE49-F238E27FC236}">
                <a16:creationId xmlns:a16="http://schemas.microsoft.com/office/drawing/2014/main" id="{3B7FEE40-2E29-42B9-B493-9A29C623398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27027" y="1781417"/>
            <a:ext cx="3729037" cy="2276233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9" name="Platshållare för bild 6">
            <a:extLst>
              <a:ext uri="{FF2B5EF4-FFF2-40B4-BE49-F238E27FC236}">
                <a16:creationId xmlns:a16="http://schemas.microsoft.com/office/drawing/2014/main" id="{1325BACD-FAED-495C-8EA3-2D2CDF43D2B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19091" y="1781417"/>
            <a:ext cx="3729037" cy="2276233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25" name="Platshållare för innehåll 2">
            <a:extLst>
              <a:ext uri="{FF2B5EF4-FFF2-40B4-BE49-F238E27FC236}">
                <a16:creationId xmlns:a16="http://schemas.microsoft.com/office/drawing/2014/main" id="{D41350EA-FE88-42D3-AAAB-234C360BA9BE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4227027" y="4171951"/>
            <a:ext cx="3728993" cy="1600200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Level two</a:t>
            </a:r>
          </a:p>
          <a:p>
            <a:pPr lvl="2"/>
            <a:r>
              <a:rPr lang="en-US" noProof="0"/>
              <a:t>Level three</a:t>
            </a:r>
          </a:p>
          <a:p>
            <a:pPr lvl="3"/>
            <a:r>
              <a:rPr lang="en-US" noProof="0"/>
              <a:t>Level four</a:t>
            </a:r>
          </a:p>
          <a:p>
            <a:pPr lvl="4"/>
            <a:r>
              <a:rPr lang="en-US" noProof="0"/>
              <a:t>Level five</a:t>
            </a:r>
          </a:p>
        </p:txBody>
      </p:sp>
      <p:sp>
        <p:nvSpPr>
          <p:cNvPr id="26" name="Platshållare för innehåll 2">
            <a:extLst>
              <a:ext uri="{FF2B5EF4-FFF2-40B4-BE49-F238E27FC236}">
                <a16:creationId xmlns:a16="http://schemas.microsoft.com/office/drawing/2014/main" id="{256280DB-0C88-4EFD-84FD-90597F5A81BB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8128045" y="4171951"/>
            <a:ext cx="3728993" cy="1600200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Level two</a:t>
            </a:r>
          </a:p>
          <a:p>
            <a:pPr lvl="2"/>
            <a:r>
              <a:rPr lang="en-US" noProof="0"/>
              <a:t>Level three</a:t>
            </a:r>
          </a:p>
          <a:p>
            <a:pPr lvl="3"/>
            <a:r>
              <a:rPr lang="en-US" noProof="0"/>
              <a:t>Level four</a:t>
            </a:r>
          </a:p>
          <a:p>
            <a:pPr lvl="4"/>
            <a:r>
              <a:rPr lang="en-US" noProof="0"/>
              <a:t>Level five</a:t>
            </a:r>
          </a:p>
        </p:txBody>
      </p:sp>
      <p:sp>
        <p:nvSpPr>
          <p:cNvPr id="22" name="Platshållare för text 7">
            <a:extLst>
              <a:ext uri="{FF2B5EF4-FFF2-40B4-BE49-F238E27FC236}">
                <a16:creationId xmlns:a16="http://schemas.microsoft.com/office/drawing/2014/main" id="{36968C17-1378-463A-9C00-CED01001C8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53" y="1033845"/>
            <a:ext cx="11522075" cy="463095"/>
          </a:xfrm>
        </p:spPr>
        <p:txBody>
          <a:bodyPr>
            <a:noAutofit/>
          </a:bodyPr>
          <a:lstStyle>
            <a:lvl1pPr marL="0" indent="0" algn="l" rtl="0">
              <a:buNone/>
              <a:defRPr sz="3200"/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23" name="Rubrik 1">
            <a:extLst>
              <a:ext uri="{FF2B5EF4-FFF2-40B4-BE49-F238E27FC236}">
                <a16:creationId xmlns:a16="http://schemas.microsoft.com/office/drawing/2014/main" id="{0A7F9B86-D9CA-404A-AC23-AC123EA9E6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115888"/>
            <a:ext cx="11522075" cy="927482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US" noProof="0"/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14" name="Platshållare för sidfot 4">
            <a:extLst>
              <a:ext uri="{FF2B5EF4-FFF2-40B4-BE49-F238E27FC236}">
                <a16:creationId xmlns:a16="http://schemas.microsoft.com/office/drawing/2014/main" id="{E880B565-D17D-4EC1-8165-F8AE8D3F03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10723" y="6373848"/>
            <a:ext cx="517757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latshållare för bildnummer 5">
            <a:extLst>
              <a:ext uri="{FF2B5EF4-FFF2-40B4-BE49-F238E27FC236}">
                <a16:creationId xmlns:a16="http://schemas.microsoft.com/office/drawing/2014/main" id="{5BBEFFCA-152C-4350-A5CF-538ACEDE89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3039" y="6373848"/>
            <a:ext cx="24765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Platshållare för datum 3">
            <a:extLst>
              <a:ext uri="{FF2B5EF4-FFF2-40B4-BE49-F238E27FC236}">
                <a16:creationId xmlns:a16="http://schemas.microsoft.com/office/drawing/2014/main" id="{831E9625-F095-4B4A-A7DF-3E55AB02C1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19615" y="6373848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96434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with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199EB54-5A4A-4CC4-94F2-9763A915FE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0220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6199EB54-5A4A-4CC4-94F2-9763A915FE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tshållare för bild 7">
            <a:extLst>
              <a:ext uri="{FF2B5EF4-FFF2-40B4-BE49-F238E27FC236}">
                <a16:creationId xmlns:a16="http://schemas.microsoft.com/office/drawing/2014/main" id="{771DA7EC-51E2-4B02-9FAC-DBC30E0077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3D01B499-3B66-4EDB-9FCF-A99251A3C9E3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339725" y="6443663"/>
            <a:ext cx="922338" cy="227669"/>
          </a:xfr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 rtl="0">
              <a:defRPr sz="100"/>
            </a:lvl1pPr>
          </a:lstStyle>
          <a:p>
            <a:pPr lvl="0"/>
            <a:r>
              <a:rPr lang="en-US" noProof="0"/>
              <a:t>  </a:t>
            </a:r>
          </a:p>
        </p:txBody>
      </p:sp>
      <p:sp>
        <p:nvSpPr>
          <p:cNvPr id="12" name="Rubrik 1">
            <a:extLst>
              <a:ext uri="{FF2B5EF4-FFF2-40B4-BE49-F238E27FC236}">
                <a16:creationId xmlns:a16="http://schemas.microsoft.com/office/drawing/2014/main" id="{683177A4-2DCD-4D02-9D60-3585CE9CFEB4}"/>
              </a:ext>
            </a:extLst>
          </p:cNvPr>
          <p:cNvSpPr txBox="1">
            <a:spLocks/>
          </p:cNvSpPr>
          <p:nvPr userDrawn="1"/>
        </p:nvSpPr>
        <p:spPr>
          <a:xfrm>
            <a:off x="5224462" y="3771900"/>
            <a:ext cx="3944938" cy="1555071"/>
          </a:xfrm>
          <a:prstGeom prst="rect">
            <a:avLst/>
          </a:prstGeom>
        </p:spPr>
        <p:txBody>
          <a:bodyPr vert="horz" lIns="0" tIns="0" rIns="0" bIns="0" rtlCol="0" anchor="b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3000" b="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rtl="0"/>
            <a:r>
              <a:rPr lang="en-US" noProof="0"/>
              <a:t>Text</a:t>
            </a:r>
          </a:p>
        </p:txBody>
      </p:sp>
      <p:sp>
        <p:nvSpPr>
          <p:cNvPr id="14" name="Platshållare för text 13">
            <a:extLst>
              <a:ext uri="{FF2B5EF4-FFF2-40B4-BE49-F238E27FC236}">
                <a16:creationId xmlns:a16="http://schemas.microsoft.com/office/drawing/2014/main" id="{F70DF45C-5192-44AF-AC26-E65A2DF6B5A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4963" y="3759200"/>
            <a:ext cx="4491037" cy="1790700"/>
          </a:xfrm>
        </p:spPr>
        <p:txBody>
          <a:bodyPr anchor="b">
            <a:normAutofit/>
          </a:bodyPr>
          <a:lstStyle>
            <a:lvl1pPr marL="0" indent="0" rtl="0">
              <a:spcAft>
                <a:spcPts val="0"/>
              </a:spcAft>
              <a:buNone/>
              <a:defRPr sz="1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Ord</a:t>
            </a:r>
          </a:p>
        </p:txBody>
      </p:sp>
    </p:spTree>
    <p:extLst>
      <p:ext uri="{BB962C8B-B14F-4D97-AF65-F5344CB8AC3E}">
        <p14:creationId xmlns:p14="http://schemas.microsoft.com/office/powerpoint/2010/main" val="35775447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4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88DA83D-0D05-4120-9145-ED6F5C11EB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8828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88DA83D-0D05-4120-9145-ED6F5C11EB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>
            <a:extLst>
              <a:ext uri="{FF2B5EF4-FFF2-40B4-BE49-F238E27FC236}">
                <a16:creationId xmlns:a16="http://schemas.microsoft.com/office/drawing/2014/main" id="{D4DAEB42-30F9-4337-9EC7-33B79E773962}"/>
              </a:ext>
            </a:extLst>
          </p:cNvPr>
          <p:cNvSpPr/>
          <p:nvPr userDrawn="1"/>
        </p:nvSpPr>
        <p:spPr>
          <a:xfrm>
            <a:off x="6095999" y="0"/>
            <a:ext cx="6095999" cy="685799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334963" y="1773239"/>
            <a:ext cx="5543323" cy="4533900"/>
          </a:xfrm>
        </p:spPr>
        <p:txBody>
          <a:bodyPr vert="horz" lIns="0" tIns="0" rIns="0" bIns="0" rtlCol="0">
            <a:noAutofit/>
          </a:bodyPr>
          <a:lstStyle>
            <a:lvl1pPr rtl="0">
              <a:defRPr lang="sv-SE" dirty="0"/>
            </a:lvl1pPr>
            <a:lvl2pPr rtl="0">
              <a:defRPr lang="sv-SE" dirty="0"/>
            </a:lvl2pPr>
            <a:lvl3pPr rtl="0">
              <a:defRPr lang="sv-SE" dirty="0"/>
            </a:lvl3pPr>
            <a:lvl4pPr rtl="0">
              <a:defRPr lang="sv-SE" dirty="0"/>
            </a:lvl4pPr>
            <a:lvl5pPr rtl="0">
              <a:defRPr lang="en-GB" dirty="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Level two</a:t>
            </a:r>
          </a:p>
          <a:p>
            <a:pPr lvl="2"/>
            <a:r>
              <a:rPr lang="en-US" noProof="0"/>
              <a:t>Level three</a:t>
            </a:r>
          </a:p>
          <a:p>
            <a:pPr lvl="3"/>
            <a:r>
              <a:rPr lang="en-US" noProof="0"/>
              <a:t>Level four</a:t>
            </a:r>
          </a:p>
          <a:p>
            <a:pPr lvl="4"/>
            <a:r>
              <a:rPr lang="en-US" noProof="0"/>
              <a:t>Level five</a:t>
            </a:r>
          </a:p>
        </p:txBody>
      </p:sp>
      <p:cxnSp>
        <p:nvCxnSpPr>
          <p:cNvPr id="16" name="Rak koppling 15"/>
          <p:cNvCxnSpPr>
            <a:cxnSpLocks/>
          </p:cNvCxnSpPr>
          <p:nvPr userDrawn="1"/>
        </p:nvCxnSpPr>
        <p:spPr>
          <a:xfrm rot="5400000">
            <a:off x="-287337" y="6186446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ak koppling 16"/>
          <p:cNvCxnSpPr/>
          <p:nvPr userDrawn="1"/>
        </p:nvCxnSpPr>
        <p:spPr>
          <a:xfrm>
            <a:off x="334963" y="6946900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D83F16BB-92D1-442A-A973-E0AA16ABC0D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43650" y="333374"/>
            <a:ext cx="2571750" cy="27527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Platshållare för innehåll 5">
            <a:extLst>
              <a:ext uri="{FF2B5EF4-FFF2-40B4-BE49-F238E27FC236}">
                <a16:creationId xmlns:a16="http://schemas.microsoft.com/office/drawing/2014/main" id="{82421104-AD40-4A63-AFFE-16195766D14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267824" y="333374"/>
            <a:ext cx="2571750" cy="27527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Platshållare för innehåll 5">
            <a:extLst>
              <a:ext uri="{FF2B5EF4-FFF2-40B4-BE49-F238E27FC236}">
                <a16:creationId xmlns:a16="http://schemas.microsoft.com/office/drawing/2014/main" id="{3FD6749B-747B-4A73-9302-0D54DB9B7D6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43650" y="3554413"/>
            <a:ext cx="2571750" cy="27527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Platshållare för innehåll 5">
            <a:extLst>
              <a:ext uri="{FF2B5EF4-FFF2-40B4-BE49-F238E27FC236}">
                <a16:creationId xmlns:a16="http://schemas.microsoft.com/office/drawing/2014/main" id="{A75EDB68-3C98-4AA0-AE48-D24488A1E479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267824" y="3554413"/>
            <a:ext cx="2571750" cy="27527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1" name="Platshållare för text 7">
            <a:extLst>
              <a:ext uri="{FF2B5EF4-FFF2-40B4-BE49-F238E27FC236}">
                <a16:creationId xmlns:a16="http://schemas.microsoft.com/office/drawing/2014/main" id="{A4D57723-B2F9-40D0-B056-A312597B74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53" y="1033845"/>
            <a:ext cx="5543323" cy="463095"/>
          </a:xfrm>
        </p:spPr>
        <p:txBody>
          <a:bodyPr>
            <a:noAutofit/>
          </a:bodyPr>
          <a:lstStyle>
            <a:lvl1pPr marL="0" indent="0" algn="l" rtl="0">
              <a:buNone/>
              <a:defRPr sz="3200"/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22" name="Rubrik 1">
            <a:extLst>
              <a:ext uri="{FF2B5EF4-FFF2-40B4-BE49-F238E27FC236}">
                <a16:creationId xmlns:a16="http://schemas.microsoft.com/office/drawing/2014/main" id="{597711CF-7AAC-4719-8F20-653B08236A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115888"/>
            <a:ext cx="5543323" cy="927482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US" noProof="0"/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14" name="Platshållare för sidfot 4">
            <a:extLst>
              <a:ext uri="{FF2B5EF4-FFF2-40B4-BE49-F238E27FC236}">
                <a16:creationId xmlns:a16="http://schemas.microsoft.com/office/drawing/2014/main" id="{EF04EF3D-E954-4B37-86A8-8F1062C2A0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10723" y="6373848"/>
            <a:ext cx="436755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88751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C31E664-6150-4AF7-9CC4-725A1D16C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3451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C31E664-6150-4AF7-9CC4-725A1D16C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05860220-0A02-4D7B-AC28-5459E2EE84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8217" y="4148138"/>
            <a:ext cx="3623257" cy="1452562"/>
          </a:xfrm>
        </p:spPr>
        <p:txBody>
          <a:bodyPr/>
          <a:lstStyle>
            <a:lvl1pPr marL="342900" indent="-342900" rtl="0">
              <a:spcAft>
                <a:spcPts val="0"/>
              </a:spcAft>
              <a:buFont typeface="+mj-lt"/>
              <a:buAutoNum type="arabicPeriod"/>
              <a:defRPr/>
            </a:lvl1pPr>
            <a:lvl2pPr marL="266700" indent="0">
              <a:buFont typeface="+mj-lt"/>
              <a:buNone/>
              <a:defRPr/>
            </a:lvl2pPr>
            <a:lvl3pPr marL="885825" indent="-342900">
              <a:buFont typeface="+mj-lt"/>
              <a:buAutoNum type="arabicPeriod"/>
              <a:defRPr/>
            </a:lvl3pPr>
            <a:lvl4pPr marL="1152525" indent="-342900">
              <a:buFont typeface="+mj-lt"/>
              <a:buAutoNum type="arabicPeriod"/>
              <a:defRPr/>
            </a:lvl4pPr>
            <a:lvl5pPr marL="1419225" indent="-342900">
              <a:buFont typeface="+mj-lt"/>
              <a:buAutoNum type="arabicPeriod"/>
              <a:defRPr/>
            </a:lvl5pPr>
          </a:lstStyle>
          <a:p>
            <a:pPr lvl="0"/>
            <a:r>
              <a:rPr lang="en-US" noProof="0"/>
              <a:t>Klicka här för att ändra format på bakgrundstexten 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BDE2B68B-81DE-4EF4-B8C5-38F914F152CB}"/>
              </a:ext>
            </a:extLst>
          </p:cNvPr>
          <p:cNvSpPr txBox="1"/>
          <p:nvPr userDrawn="1"/>
        </p:nvSpPr>
        <p:spPr>
          <a:xfrm>
            <a:off x="231413" y="1567926"/>
            <a:ext cx="710072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84" rtl="0">
              <a:lnSpc>
                <a:spcPct val="90000"/>
              </a:lnSpc>
            </a:pPr>
            <a:r>
              <a:rPr lang="en-US" sz="16000" spc="-667" noProof="0">
                <a:solidFill>
                  <a:srgbClr val="00005A"/>
                </a:solidFill>
                <a:ea typeface="+mj-ea"/>
              </a:rPr>
              <a:t>Agenda</a:t>
            </a:r>
          </a:p>
        </p:txBody>
      </p:sp>
      <p:sp>
        <p:nvSpPr>
          <p:cNvPr id="12" name="Platshållare för text 9">
            <a:extLst>
              <a:ext uri="{FF2B5EF4-FFF2-40B4-BE49-F238E27FC236}">
                <a16:creationId xmlns:a16="http://schemas.microsoft.com/office/drawing/2014/main" id="{B68DFD0E-D7E9-4646-A50C-0D254DF3BD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87742" y="4148138"/>
            <a:ext cx="3623257" cy="1452562"/>
          </a:xfrm>
        </p:spPr>
        <p:txBody>
          <a:bodyPr/>
          <a:lstStyle>
            <a:lvl1pPr marL="342900" indent="-342900" rtl="0">
              <a:spcAft>
                <a:spcPts val="0"/>
              </a:spcAft>
              <a:buFont typeface="+mj-lt"/>
              <a:buAutoNum type="arabicPeriod" startAt="6"/>
              <a:defRPr/>
            </a:lvl1pPr>
            <a:lvl2pPr marL="266700" indent="0">
              <a:buFont typeface="+mj-lt"/>
              <a:buNone/>
              <a:defRPr/>
            </a:lvl2pPr>
            <a:lvl3pPr marL="885825" indent="-342900">
              <a:buFont typeface="+mj-lt"/>
              <a:buAutoNum type="arabicPeriod"/>
              <a:defRPr/>
            </a:lvl3pPr>
            <a:lvl4pPr marL="1152525" indent="-342900">
              <a:buFont typeface="+mj-lt"/>
              <a:buAutoNum type="arabicPeriod"/>
              <a:defRPr/>
            </a:lvl4pPr>
            <a:lvl5pPr marL="1419225" indent="-342900">
              <a:buFont typeface="+mj-lt"/>
              <a:buAutoNum type="arabicPeriod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Platshållare för sidfot 4">
            <a:extLst>
              <a:ext uri="{FF2B5EF4-FFF2-40B4-BE49-F238E27FC236}">
                <a16:creationId xmlns:a16="http://schemas.microsoft.com/office/drawing/2014/main" id="{D420BBF3-28B1-427F-94E6-8254A13302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10723" y="6373848"/>
            <a:ext cx="517757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latshållare för bildnummer 5">
            <a:extLst>
              <a:ext uri="{FF2B5EF4-FFF2-40B4-BE49-F238E27FC236}">
                <a16:creationId xmlns:a16="http://schemas.microsoft.com/office/drawing/2014/main" id="{4C009193-6E5A-4BB5-8778-E4BD8545FB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3039" y="6373848"/>
            <a:ext cx="24765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Platshållare för datum 3">
            <a:extLst>
              <a:ext uri="{FF2B5EF4-FFF2-40B4-BE49-F238E27FC236}">
                <a16:creationId xmlns:a16="http://schemas.microsoft.com/office/drawing/2014/main" id="{86E25F86-CC52-40CE-AD34-25052199F2E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19615" y="6373848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F6A2710E-B162-489A-9A30-1B643B61E751}"/>
              </a:ext>
            </a:extLst>
          </p:cNvPr>
          <p:cNvSpPr/>
          <p:nvPr userDrawn="1"/>
        </p:nvSpPr>
        <p:spPr>
          <a:xfrm>
            <a:off x="-2829523" y="12700"/>
            <a:ext cx="2512619" cy="130897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dirty="0">
                <a:solidFill>
                  <a:schemeClr val="tx2"/>
                </a:solidFill>
              </a:rPr>
              <a:t>For alternative agenda design – use the “Content and 1 image”- slide</a:t>
            </a:r>
          </a:p>
        </p:txBody>
      </p:sp>
    </p:spTree>
    <p:extLst>
      <p:ext uri="{BB962C8B-B14F-4D97-AF65-F5344CB8AC3E}">
        <p14:creationId xmlns:p14="http://schemas.microsoft.com/office/powerpoint/2010/main" val="23883033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Blue/Magent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52EBAA6-5F51-46DD-9C9B-BB3E1AAE25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9375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652EBAA6-5F51-46DD-9C9B-BB3E1AAE25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05860220-0A02-4D7B-AC28-5459E2EE84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8217" y="4148138"/>
            <a:ext cx="3623257" cy="1452562"/>
          </a:xfrm>
        </p:spPr>
        <p:txBody>
          <a:bodyPr/>
          <a:lstStyle>
            <a:lvl1pPr marL="342900" indent="-342900" rtl="0">
              <a:spcAft>
                <a:spcPts val="0"/>
              </a:spcAft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266700" indent="0">
              <a:buFont typeface="+mj-lt"/>
              <a:buNone/>
              <a:defRPr/>
            </a:lvl2pPr>
            <a:lvl3pPr marL="885825" indent="-342900">
              <a:buFont typeface="+mj-lt"/>
              <a:buAutoNum type="arabicPeriod"/>
              <a:defRPr/>
            </a:lvl3pPr>
            <a:lvl4pPr marL="1152525" indent="-342900">
              <a:buFont typeface="+mj-lt"/>
              <a:buAutoNum type="arabicPeriod"/>
              <a:defRPr/>
            </a:lvl4pPr>
            <a:lvl5pPr marL="1419225" indent="-342900">
              <a:buFont typeface="+mj-lt"/>
              <a:buAutoNum type="arabicPeriod"/>
              <a:defRPr/>
            </a:lvl5pPr>
          </a:lstStyle>
          <a:p>
            <a:pPr lvl="0"/>
            <a:r>
              <a:rPr lang="en-US" noProof="0" dirty="0" err="1"/>
              <a:t>Klicka</a:t>
            </a:r>
            <a:r>
              <a:rPr lang="en-US" noProof="0" dirty="0"/>
              <a:t> </a:t>
            </a:r>
            <a:r>
              <a:rPr lang="en-US" noProof="0" dirty="0" err="1"/>
              <a:t>här</a:t>
            </a:r>
            <a:r>
              <a:rPr lang="en-US" noProof="0" dirty="0"/>
              <a:t> </a:t>
            </a:r>
            <a:r>
              <a:rPr lang="en-US" noProof="0" dirty="0" err="1"/>
              <a:t>för</a:t>
            </a:r>
            <a:r>
              <a:rPr lang="en-US" noProof="0" dirty="0"/>
              <a:t> </a:t>
            </a:r>
            <a:r>
              <a:rPr lang="en-US" noProof="0" dirty="0" err="1"/>
              <a:t>att</a:t>
            </a:r>
            <a:r>
              <a:rPr lang="en-US" noProof="0" dirty="0"/>
              <a:t> </a:t>
            </a:r>
            <a:r>
              <a:rPr lang="en-US" noProof="0" dirty="0" err="1"/>
              <a:t>ändra</a:t>
            </a:r>
            <a:r>
              <a:rPr lang="en-US" noProof="0" dirty="0"/>
              <a:t> format </a:t>
            </a:r>
            <a:r>
              <a:rPr lang="en-US" noProof="0" dirty="0" err="1"/>
              <a:t>på</a:t>
            </a:r>
            <a:r>
              <a:rPr lang="en-US" noProof="0" dirty="0"/>
              <a:t> </a:t>
            </a:r>
            <a:r>
              <a:rPr lang="en-US" noProof="0" dirty="0" err="1"/>
              <a:t>bakgrundstexten</a:t>
            </a:r>
            <a:r>
              <a:rPr lang="en-US" noProof="0" dirty="0"/>
              <a:t> 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BDE2B68B-81DE-4EF4-B8C5-38F914F152CB}"/>
              </a:ext>
            </a:extLst>
          </p:cNvPr>
          <p:cNvSpPr txBox="1"/>
          <p:nvPr userDrawn="1"/>
        </p:nvSpPr>
        <p:spPr>
          <a:xfrm>
            <a:off x="231413" y="1567926"/>
            <a:ext cx="710072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84" rtl="0">
              <a:lnSpc>
                <a:spcPct val="90000"/>
              </a:lnSpc>
            </a:pPr>
            <a:r>
              <a:rPr lang="en-US" sz="16000" spc="-667" noProof="0">
                <a:solidFill>
                  <a:schemeClr val="bg1"/>
                </a:solidFill>
                <a:ea typeface="+mj-ea"/>
              </a:rPr>
              <a:t>Agenda</a:t>
            </a:r>
          </a:p>
        </p:txBody>
      </p:sp>
      <p:sp>
        <p:nvSpPr>
          <p:cNvPr id="12" name="Platshållare för text 9">
            <a:extLst>
              <a:ext uri="{FF2B5EF4-FFF2-40B4-BE49-F238E27FC236}">
                <a16:creationId xmlns:a16="http://schemas.microsoft.com/office/drawing/2014/main" id="{B68DFD0E-D7E9-4646-A50C-0D254DF3BD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87742" y="4148138"/>
            <a:ext cx="3623257" cy="1452562"/>
          </a:xfrm>
        </p:spPr>
        <p:txBody>
          <a:bodyPr/>
          <a:lstStyle>
            <a:lvl1pPr marL="342900" indent="-342900" rtl="0">
              <a:spcAft>
                <a:spcPts val="0"/>
              </a:spcAft>
              <a:buFont typeface="+mj-lt"/>
              <a:buAutoNum type="arabicPeriod" startAt="6"/>
              <a:defRPr>
                <a:solidFill>
                  <a:schemeClr val="bg1"/>
                </a:solidFill>
              </a:defRPr>
            </a:lvl1pPr>
            <a:lvl2pPr marL="266700" indent="0">
              <a:buFont typeface="+mj-lt"/>
              <a:buNone/>
              <a:defRPr/>
            </a:lvl2pPr>
            <a:lvl3pPr marL="885825" indent="-342900">
              <a:buFont typeface="+mj-lt"/>
              <a:buAutoNum type="arabicPeriod"/>
              <a:defRPr/>
            </a:lvl3pPr>
            <a:lvl4pPr marL="1152525" indent="-342900">
              <a:buFont typeface="+mj-lt"/>
              <a:buAutoNum type="arabicPeriod"/>
              <a:defRPr/>
            </a:lvl4pPr>
            <a:lvl5pPr marL="1419225" indent="-342900">
              <a:buFont typeface="+mj-lt"/>
              <a:buAutoNum type="arabicPeriod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1" name="Picture 5" descr="Logtype_white.png">
            <a:extLst>
              <a:ext uri="{FF2B5EF4-FFF2-40B4-BE49-F238E27FC236}">
                <a16:creationId xmlns:a16="http://schemas.microsoft.com/office/drawing/2014/main" id="{BCE19680-6D49-461E-8171-6BA6E25B2DB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962" y="6427365"/>
            <a:ext cx="931863" cy="233172"/>
          </a:xfrm>
          <a:prstGeom prst="rect">
            <a:avLst/>
          </a:prstGeom>
        </p:spPr>
      </p:pic>
      <p:sp>
        <p:nvSpPr>
          <p:cNvPr id="22" name="Rektangel 21">
            <a:extLst>
              <a:ext uri="{FF2B5EF4-FFF2-40B4-BE49-F238E27FC236}">
                <a16:creationId xmlns:a16="http://schemas.microsoft.com/office/drawing/2014/main" id="{8AFDB088-736A-485F-A307-8291686B404B}"/>
              </a:ext>
            </a:extLst>
          </p:cNvPr>
          <p:cNvSpPr/>
          <p:nvPr userDrawn="1"/>
        </p:nvSpPr>
        <p:spPr>
          <a:xfrm>
            <a:off x="-2829522" y="1511059"/>
            <a:ext cx="2512620" cy="40896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r>
              <a:rPr lang="en-US" noProof="0" dirty="0">
                <a:solidFill>
                  <a:schemeClr val="tx2"/>
                </a:solidFill>
              </a:rPr>
              <a:t>To change background color go to “Design”, Format Background and choose either </a:t>
            </a:r>
            <a:r>
              <a:rPr lang="en-US" b="1" noProof="0" dirty="0">
                <a:solidFill>
                  <a:schemeClr val="tx2"/>
                </a:solidFill>
              </a:rPr>
              <a:t>Essity Dark Blue or Magenta</a:t>
            </a:r>
            <a:r>
              <a:rPr lang="en-US" noProof="0" dirty="0">
                <a:solidFill>
                  <a:schemeClr val="tx2"/>
                </a:solidFill>
              </a:rPr>
              <a:t>. Do not use </a:t>
            </a:r>
            <a:r>
              <a:rPr lang="en-US" u="sng" noProof="0" dirty="0">
                <a:solidFill>
                  <a:schemeClr val="tx2"/>
                </a:solidFill>
              </a:rPr>
              <a:t>light blue, green or orange </a:t>
            </a:r>
          </a:p>
        </p:txBody>
      </p:sp>
      <p:pic>
        <p:nvPicPr>
          <p:cNvPr id="23" name="Bildobjekt 22">
            <a:extLst>
              <a:ext uri="{FF2B5EF4-FFF2-40B4-BE49-F238E27FC236}">
                <a16:creationId xmlns:a16="http://schemas.microsoft.com/office/drawing/2014/main" id="{FEDE96C2-A693-4F55-A29B-DD261C5B06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668489" y="3876250"/>
            <a:ext cx="2190554" cy="1371679"/>
          </a:xfrm>
          <a:prstGeom prst="rect">
            <a:avLst/>
          </a:prstGeom>
        </p:spPr>
      </p:pic>
      <p:sp>
        <p:nvSpPr>
          <p:cNvPr id="24" name="Rektangel: rundade hörn 23">
            <a:extLst>
              <a:ext uri="{FF2B5EF4-FFF2-40B4-BE49-F238E27FC236}">
                <a16:creationId xmlns:a16="http://schemas.microsoft.com/office/drawing/2014/main" id="{76C2DC74-BD0F-4D0F-B3B5-4C815502D909}"/>
              </a:ext>
            </a:extLst>
          </p:cNvPr>
          <p:cNvSpPr/>
          <p:nvPr userDrawn="1"/>
        </p:nvSpPr>
        <p:spPr>
          <a:xfrm>
            <a:off x="-2242087" y="3902335"/>
            <a:ext cx="442913" cy="233363"/>
          </a:xfrm>
          <a:prstGeom prst="round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25" name="Rektangel: rundade hörn 24">
            <a:extLst>
              <a:ext uri="{FF2B5EF4-FFF2-40B4-BE49-F238E27FC236}">
                <a16:creationId xmlns:a16="http://schemas.microsoft.com/office/drawing/2014/main" id="{5E317E9C-B264-4CC0-B65A-7B9F7464549D}"/>
              </a:ext>
            </a:extLst>
          </p:cNvPr>
          <p:cNvSpPr/>
          <p:nvPr userDrawn="1"/>
        </p:nvSpPr>
        <p:spPr>
          <a:xfrm>
            <a:off x="-1131744" y="3902335"/>
            <a:ext cx="653809" cy="233363"/>
          </a:xfrm>
          <a:prstGeom prst="round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>
              <a:solidFill>
                <a:schemeClr val="tx2"/>
              </a:solidFill>
            </a:endParaRPr>
          </a:p>
        </p:txBody>
      </p:sp>
      <p:cxnSp>
        <p:nvCxnSpPr>
          <p:cNvPr id="26" name="Rak pilkoppling 25">
            <a:extLst>
              <a:ext uri="{FF2B5EF4-FFF2-40B4-BE49-F238E27FC236}">
                <a16:creationId xmlns:a16="http://schemas.microsoft.com/office/drawing/2014/main" id="{5378B3D1-DE97-4AE0-8937-D5613B8CDAF3}"/>
              </a:ext>
            </a:extLst>
          </p:cNvPr>
          <p:cNvCxnSpPr>
            <a:cxnSpLocks/>
            <a:endCxn id="25" idx="0"/>
          </p:cNvCxnSpPr>
          <p:nvPr userDrawn="1"/>
        </p:nvCxnSpPr>
        <p:spPr>
          <a:xfrm>
            <a:off x="-1092200" y="3443126"/>
            <a:ext cx="287361" cy="45920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rihandsfigur: Form 26">
            <a:extLst>
              <a:ext uri="{FF2B5EF4-FFF2-40B4-BE49-F238E27FC236}">
                <a16:creationId xmlns:a16="http://schemas.microsoft.com/office/drawing/2014/main" id="{8B9F22E2-9623-481D-AF5B-B91933434F21}"/>
              </a:ext>
            </a:extLst>
          </p:cNvPr>
          <p:cNvSpPr/>
          <p:nvPr userDrawn="1"/>
        </p:nvSpPr>
        <p:spPr>
          <a:xfrm>
            <a:off x="-2911475" y="3027201"/>
            <a:ext cx="660400" cy="981075"/>
          </a:xfrm>
          <a:custGeom>
            <a:avLst/>
            <a:gdLst>
              <a:gd name="connsiteX0" fmla="*/ 149225 w 660400"/>
              <a:gd name="connsiteY0" fmla="*/ 0 h 981075"/>
              <a:gd name="connsiteX1" fmla="*/ 0 w 660400"/>
              <a:gd name="connsiteY1" fmla="*/ 0 h 981075"/>
              <a:gd name="connsiteX2" fmla="*/ 0 w 660400"/>
              <a:gd name="connsiteY2" fmla="*/ 981075 h 981075"/>
              <a:gd name="connsiteX3" fmla="*/ 660400 w 660400"/>
              <a:gd name="connsiteY3" fmla="*/ 981075 h 981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0400" h="981075">
                <a:moveTo>
                  <a:pt x="149225" y="0"/>
                </a:moveTo>
                <a:lnTo>
                  <a:pt x="0" y="0"/>
                </a:lnTo>
                <a:lnTo>
                  <a:pt x="0" y="981075"/>
                </a:lnTo>
                <a:lnTo>
                  <a:pt x="660400" y="981075"/>
                </a:lnTo>
              </a:path>
            </a:pathLst>
          </a:custGeom>
          <a:noFill/>
          <a:ln>
            <a:solidFill>
              <a:schemeClr val="bg2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8" name="Rektangel 27">
            <a:extLst>
              <a:ext uri="{FF2B5EF4-FFF2-40B4-BE49-F238E27FC236}">
                <a16:creationId xmlns:a16="http://schemas.microsoft.com/office/drawing/2014/main" id="{6526E33A-1CB6-4B6A-80FD-1EA4A011524B}"/>
              </a:ext>
            </a:extLst>
          </p:cNvPr>
          <p:cNvSpPr/>
          <p:nvPr userDrawn="1"/>
        </p:nvSpPr>
        <p:spPr>
          <a:xfrm>
            <a:off x="-2829523" y="0"/>
            <a:ext cx="2512619" cy="130897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dirty="0">
                <a:solidFill>
                  <a:schemeClr val="tx2"/>
                </a:solidFill>
              </a:rPr>
              <a:t>For alternative agenda design – use the “Content and 1 image”- slide</a:t>
            </a:r>
          </a:p>
        </p:txBody>
      </p:sp>
    </p:spTree>
    <p:extLst>
      <p:ext uri="{BB962C8B-B14F-4D97-AF65-F5344CB8AC3E}">
        <p14:creationId xmlns:p14="http://schemas.microsoft.com/office/powerpoint/2010/main" val="28478039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 numbered Blue/Magent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B90E343-BD9F-45A5-BD65-F8C6B6BB07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4585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B90E343-BD9F-45A5-BD65-F8C6B6BB07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ubrik 1">
            <a:extLst>
              <a:ext uri="{FF2B5EF4-FFF2-40B4-BE49-F238E27FC236}">
                <a16:creationId xmlns:a16="http://schemas.microsoft.com/office/drawing/2014/main" id="{5B9E6D36-CD98-4166-9108-4205F9718F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4292" y="1827344"/>
            <a:ext cx="5548508" cy="866523"/>
          </a:xfrm>
        </p:spPr>
        <p:txBody>
          <a:bodyPr vert="horz" anchor="b">
            <a:normAutofit/>
          </a:bodyPr>
          <a:lstStyle>
            <a:lvl1pPr algn="l" rtl="0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7" name="Underrubrik 2">
            <a:extLst>
              <a:ext uri="{FF2B5EF4-FFF2-40B4-BE49-F238E27FC236}">
                <a16:creationId xmlns:a16="http://schemas.microsoft.com/office/drawing/2014/main" id="{D7E63308-F4C8-4AC1-B5BE-A0E5F78920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4292" y="2766553"/>
            <a:ext cx="5548508" cy="866523"/>
          </a:xfrm>
        </p:spPr>
        <p:txBody>
          <a:bodyPr/>
          <a:lstStyle>
            <a:lvl1pPr marL="0" indent="0" algn="l" rtl="0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pic>
        <p:nvPicPr>
          <p:cNvPr id="8" name="Picture 5" descr="Logtype_white.png">
            <a:extLst>
              <a:ext uri="{FF2B5EF4-FFF2-40B4-BE49-F238E27FC236}">
                <a16:creationId xmlns:a16="http://schemas.microsoft.com/office/drawing/2014/main" id="{ECA78F9B-DA33-4E4B-89C8-85B42B84218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962" y="6427365"/>
            <a:ext cx="931863" cy="233172"/>
          </a:xfrm>
          <a:prstGeom prst="rect">
            <a:avLst/>
          </a:prstGeom>
        </p:spPr>
      </p:pic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51399678-842B-4F3A-B6E6-7BB9715D80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58150" y="4448505"/>
            <a:ext cx="3798888" cy="2316163"/>
          </a:xfrm>
        </p:spPr>
        <p:txBody>
          <a:bodyPr anchor="b"/>
          <a:lstStyle>
            <a:lvl1pPr marL="0" indent="0" algn="r" rtl="0">
              <a:buNone/>
              <a:defRPr sz="160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 noProof="0"/>
              <a:t>0</a:t>
            </a: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D3A17455-49AA-471D-9DDA-B16136D86F22}"/>
              </a:ext>
            </a:extLst>
          </p:cNvPr>
          <p:cNvSpPr/>
          <p:nvPr userDrawn="1"/>
        </p:nvSpPr>
        <p:spPr>
          <a:xfrm>
            <a:off x="-2829522" y="382054"/>
            <a:ext cx="2512620" cy="39141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r>
              <a:rPr lang="en-US" noProof="0" dirty="0">
                <a:solidFill>
                  <a:schemeClr val="tx2"/>
                </a:solidFill>
              </a:rPr>
              <a:t>To change background color go to “Design”, Format Background and choose either </a:t>
            </a:r>
            <a:r>
              <a:rPr lang="en-US" b="1" noProof="0" dirty="0">
                <a:solidFill>
                  <a:schemeClr val="tx2"/>
                </a:solidFill>
              </a:rPr>
              <a:t>Essity Dark Blue or Magenta</a:t>
            </a:r>
            <a:r>
              <a:rPr lang="en-US" noProof="0" dirty="0">
                <a:solidFill>
                  <a:schemeClr val="tx2"/>
                </a:solidFill>
              </a:rPr>
              <a:t>. Do not use </a:t>
            </a:r>
            <a:r>
              <a:rPr lang="en-US" u="sng" noProof="0" dirty="0">
                <a:solidFill>
                  <a:schemeClr val="tx2"/>
                </a:solidFill>
              </a:rPr>
              <a:t>light blue, green or orange </a:t>
            </a:r>
          </a:p>
        </p:txBody>
      </p:sp>
      <p:pic>
        <p:nvPicPr>
          <p:cNvPr id="22" name="Bildobjekt 21">
            <a:extLst>
              <a:ext uri="{FF2B5EF4-FFF2-40B4-BE49-F238E27FC236}">
                <a16:creationId xmlns:a16="http://schemas.microsoft.com/office/drawing/2014/main" id="{73BBF912-AD30-4EAA-879E-615461CE62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668489" y="2766553"/>
            <a:ext cx="2190554" cy="1371679"/>
          </a:xfrm>
          <a:prstGeom prst="rect">
            <a:avLst/>
          </a:prstGeom>
        </p:spPr>
      </p:pic>
      <p:sp>
        <p:nvSpPr>
          <p:cNvPr id="23" name="Rektangel: rundade hörn 22">
            <a:extLst>
              <a:ext uri="{FF2B5EF4-FFF2-40B4-BE49-F238E27FC236}">
                <a16:creationId xmlns:a16="http://schemas.microsoft.com/office/drawing/2014/main" id="{95852A9A-9DE2-4E4D-BACA-DFDC86839579}"/>
              </a:ext>
            </a:extLst>
          </p:cNvPr>
          <p:cNvSpPr/>
          <p:nvPr userDrawn="1"/>
        </p:nvSpPr>
        <p:spPr>
          <a:xfrm>
            <a:off x="-2242087" y="2782428"/>
            <a:ext cx="442913" cy="233363"/>
          </a:xfrm>
          <a:prstGeom prst="round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24" name="Rektangel: rundade hörn 23">
            <a:extLst>
              <a:ext uri="{FF2B5EF4-FFF2-40B4-BE49-F238E27FC236}">
                <a16:creationId xmlns:a16="http://schemas.microsoft.com/office/drawing/2014/main" id="{A1C7F381-BD47-44E0-BEAD-3E144324095D}"/>
              </a:ext>
            </a:extLst>
          </p:cNvPr>
          <p:cNvSpPr/>
          <p:nvPr userDrawn="1"/>
        </p:nvSpPr>
        <p:spPr>
          <a:xfrm>
            <a:off x="-1131744" y="2782428"/>
            <a:ext cx="653809" cy="233363"/>
          </a:xfrm>
          <a:prstGeom prst="round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>
              <a:solidFill>
                <a:schemeClr val="tx2"/>
              </a:solidFill>
            </a:endParaRPr>
          </a:p>
        </p:txBody>
      </p:sp>
      <p:cxnSp>
        <p:nvCxnSpPr>
          <p:cNvPr id="25" name="Rak pilkoppling 24">
            <a:extLst>
              <a:ext uri="{FF2B5EF4-FFF2-40B4-BE49-F238E27FC236}">
                <a16:creationId xmlns:a16="http://schemas.microsoft.com/office/drawing/2014/main" id="{CF76258E-36EC-49D4-AAED-BA8B5857B02A}"/>
              </a:ext>
            </a:extLst>
          </p:cNvPr>
          <p:cNvCxnSpPr>
            <a:cxnSpLocks/>
            <a:endCxn id="24" idx="0"/>
          </p:cNvCxnSpPr>
          <p:nvPr userDrawn="1"/>
        </p:nvCxnSpPr>
        <p:spPr>
          <a:xfrm>
            <a:off x="-1092200" y="2323219"/>
            <a:ext cx="287361" cy="45920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rihandsfigur: Form 25">
            <a:extLst>
              <a:ext uri="{FF2B5EF4-FFF2-40B4-BE49-F238E27FC236}">
                <a16:creationId xmlns:a16="http://schemas.microsoft.com/office/drawing/2014/main" id="{9A3C8176-842A-4DAA-B114-AE4625E12CA4}"/>
              </a:ext>
            </a:extLst>
          </p:cNvPr>
          <p:cNvSpPr/>
          <p:nvPr userDrawn="1"/>
        </p:nvSpPr>
        <p:spPr>
          <a:xfrm>
            <a:off x="-2911475" y="1907294"/>
            <a:ext cx="660400" cy="981075"/>
          </a:xfrm>
          <a:custGeom>
            <a:avLst/>
            <a:gdLst>
              <a:gd name="connsiteX0" fmla="*/ 149225 w 660400"/>
              <a:gd name="connsiteY0" fmla="*/ 0 h 981075"/>
              <a:gd name="connsiteX1" fmla="*/ 0 w 660400"/>
              <a:gd name="connsiteY1" fmla="*/ 0 h 981075"/>
              <a:gd name="connsiteX2" fmla="*/ 0 w 660400"/>
              <a:gd name="connsiteY2" fmla="*/ 981075 h 981075"/>
              <a:gd name="connsiteX3" fmla="*/ 660400 w 660400"/>
              <a:gd name="connsiteY3" fmla="*/ 981075 h 981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0400" h="981075">
                <a:moveTo>
                  <a:pt x="149225" y="0"/>
                </a:moveTo>
                <a:lnTo>
                  <a:pt x="0" y="0"/>
                </a:lnTo>
                <a:lnTo>
                  <a:pt x="0" y="981075"/>
                </a:lnTo>
                <a:lnTo>
                  <a:pt x="660400" y="981075"/>
                </a:lnTo>
              </a:path>
            </a:pathLst>
          </a:custGeom>
          <a:noFill/>
          <a:ln>
            <a:solidFill>
              <a:schemeClr val="bg2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85836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Blue/Magent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92E5CE2-3F57-4FEB-AF43-44CF8F03B0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1136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92E5CE2-3F57-4FEB-AF43-44CF8F03B0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" descr="Logtype_white.png">
            <a:extLst>
              <a:ext uri="{FF2B5EF4-FFF2-40B4-BE49-F238E27FC236}">
                <a16:creationId xmlns:a16="http://schemas.microsoft.com/office/drawing/2014/main" id="{B01A205B-A855-40D8-A7C2-AC6F4A11150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100" y="6163960"/>
            <a:ext cx="1606334" cy="401939"/>
          </a:xfrm>
          <a:prstGeom prst="rect">
            <a:avLst/>
          </a:prstGeom>
        </p:spPr>
      </p:pic>
      <p:sp>
        <p:nvSpPr>
          <p:cNvPr id="10" name="TextBox 4">
            <a:extLst>
              <a:ext uri="{FF2B5EF4-FFF2-40B4-BE49-F238E27FC236}">
                <a16:creationId xmlns:a16="http://schemas.microsoft.com/office/drawing/2014/main" id="{D6FE0BDA-8381-43BB-A67E-857DF66ECCD3}"/>
              </a:ext>
            </a:extLst>
          </p:cNvPr>
          <p:cNvSpPr txBox="1"/>
          <p:nvPr userDrawn="1"/>
        </p:nvSpPr>
        <p:spPr>
          <a:xfrm>
            <a:off x="327380" y="2276621"/>
            <a:ext cx="56754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84" rtl="0">
              <a:lnSpc>
                <a:spcPct val="90000"/>
              </a:lnSpc>
            </a:pPr>
            <a:r>
              <a:rPr lang="en-US" sz="4000" b="1" noProof="0" dirty="0">
                <a:solidFill>
                  <a:prstClr val="white"/>
                </a:solidFill>
                <a:ea typeface="+mj-ea"/>
              </a:rPr>
              <a:t>Thank You.</a:t>
            </a:r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A5E8B4CC-44A5-42C7-A0C2-97A8D58128C6}"/>
              </a:ext>
            </a:extLst>
          </p:cNvPr>
          <p:cNvSpPr/>
          <p:nvPr userDrawn="1"/>
        </p:nvSpPr>
        <p:spPr>
          <a:xfrm>
            <a:off x="-2829522" y="382055"/>
            <a:ext cx="2512620" cy="393594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>
                <a:solidFill>
                  <a:schemeClr val="tx2"/>
                </a:solidFill>
              </a:rPr>
              <a:t>To change background color go to “Design”, Format Background and choose either </a:t>
            </a:r>
            <a:r>
              <a:rPr lang="en-US" b="1" noProof="0" dirty="0">
                <a:solidFill>
                  <a:schemeClr val="tx2"/>
                </a:solidFill>
              </a:rPr>
              <a:t>Essity Dark Blue or Magenta</a:t>
            </a:r>
            <a:r>
              <a:rPr lang="en-US" noProof="0" dirty="0">
                <a:solidFill>
                  <a:schemeClr val="tx2"/>
                </a:solidFill>
              </a:rPr>
              <a:t>. Do not use </a:t>
            </a:r>
            <a:r>
              <a:rPr lang="en-US" u="sng" noProof="0" dirty="0">
                <a:solidFill>
                  <a:schemeClr val="tx2"/>
                </a:solidFill>
              </a:rPr>
              <a:t>light blue, green or orange </a:t>
            </a:r>
          </a:p>
        </p:txBody>
      </p:sp>
      <p:pic>
        <p:nvPicPr>
          <p:cNvPr id="18" name="Bildobjekt 17">
            <a:extLst>
              <a:ext uri="{FF2B5EF4-FFF2-40B4-BE49-F238E27FC236}">
                <a16:creationId xmlns:a16="http://schemas.microsoft.com/office/drawing/2014/main" id="{FEEBC64F-2C74-4FAE-8349-EFF22328C6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668489" y="2811541"/>
            <a:ext cx="2190554" cy="1371679"/>
          </a:xfrm>
          <a:prstGeom prst="rect">
            <a:avLst/>
          </a:prstGeom>
        </p:spPr>
      </p:pic>
      <p:sp>
        <p:nvSpPr>
          <p:cNvPr id="19" name="Rektangel: rundade hörn 18">
            <a:extLst>
              <a:ext uri="{FF2B5EF4-FFF2-40B4-BE49-F238E27FC236}">
                <a16:creationId xmlns:a16="http://schemas.microsoft.com/office/drawing/2014/main" id="{10B8A353-0B37-4684-80E6-42B02CF34616}"/>
              </a:ext>
            </a:extLst>
          </p:cNvPr>
          <p:cNvSpPr/>
          <p:nvPr userDrawn="1"/>
        </p:nvSpPr>
        <p:spPr>
          <a:xfrm>
            <a:off x="-2242087" y="2811541"/>
            <a:ext cx="442913" cy="233363"/>
          </a:xfrm>
          <a:prstGeom prst="round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20" name="Rektangel: rundade hörn 19">
            <a:extLst>
              <a:ext uri="{FF2B5EF4-FFF2-40B4-BE49-F238E27FC236}">
                <a16:creationId xmlns:a16="http://schemas.microsoft.com/office/drawing/2014/main" id="{CE1CABD0-4D9D-4856-9372-5FC776AA0E7F}"/>
              </a:ext>
            </a:extLst>
          </p:cNvPr>
          <p:cNvSpPr/>
          <p:nvPr userDrawn="1"/>
        </p:nvSpPr>
        <p:spPr>
          <a:xfrm>
            <a:off x="-1131744" y="2811541"/>
            <a:ext cx="653809" cy="233363"/>
          </a:xfrm>
          <a:prstGeom prst="round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>
              <a:solidFill>
                <a:schemeClr val="tx2"/>
              </a:solidFill>
            </a:endParaRPr>
          </a:p>
        </p:txBody>
      </p:sp>
      <p:cxnSp>
        <p:nvCxnSpPr>
          <p:cNvPr id="21" name="Rak pilkoppling 20">
            <a:extLst>
              <a:ext uri="{FF2B5EF4-FFF2-40B4-BE49-F238E27FC236}">
                <a16:creationId xmlns:a16="http://schemas.microsoft.com/office/drawing/2014/main" id="{E0350951-BA12-4CB2-B98E-E0CDDE44D5D2}"/>
              </a:ext>
            </a:extLst>
          </p:cNvPr>
          <p:cNvCxnSpPr>
            <a:cxnSpLocks/>
            <a:endCxn id="20" idx="0"/>
          </p:cNvCxnSpPr>
          <p:nvPr userDrawn="1"/>
        </p:nvCxnSpPr>
        <p:spPr>
          <a:xfrm>
            <a:off x="-1092200" y="2352332"/>
            <a:ext cx="287361" cy="45920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rihandsfigur: Form 21">
            <a:extLst>
              <a:ext uri="{FF2B5EF4-FFF2-40B4-BE49-F238E27FC236}">
                <a16:creationId xmlns:a16="http://schemas.microsoft.com/office/drawing/2014/main" id="{4FA4F1CA-1847-4A85-AA6E-96CFE27E0103}"/>
              </a:ext>
            </a:extLst>
          </p:cNvPr>
          <p:cNvSpPr/>
          <p:nvPr userDrawn="1"/>
        </p:nvSpPr>
        <p:spPr>
          <a:xfrm>
            <a:off x="-2911475" y="1936407"/>
            <a:ext cx="660400" cy="981075"/>
          </a:xfrm>
          <a:custGeom>
            <a:avLst/>
            <a:gdLst>
              <a:gd name="connsiteX0" fmla="*/ 149225 w 660400"/>
              <a:gd name="connsiteY0" fmla="*/ 0 h 981075"/>
              <a:gd name="connsiteX1" fmla="*/ 0 w 660400"/>
              <a:gd name="connsiteY1" fmla="*/ 0 h 981075"/>
              <a:gd name="connsiteX2" fmla="*/ 0 w 660400"/>
              <a:gd name="connsiteY2" fmla="*/ 981075 h 981075"/>
              <a:gd name="connsiteX3" fmla="*/ 660400 w 660400"/>
              <a:gd name="connsiteY3" fmla="*/ 981075 h 981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0400" h="981075">
                <a:moveTo>
                  <a:pt x="149225" y="0"/>
                </a:moveTo>
                <a:lnTo>
                  <a:pt x="0" y="0"/>
                </a:lnTo>
                <a:lnTo>
                  <a:pt x="0" y="981075"/>
                </a:lnTo>
                <a:lnTo>
                  <a:pt x="660400" y="981075"/>
                </a:lnTo>
              </a:path>
            </a:pathLst>
          </a:custGeom>
          <a:noFill/>
          <a:ln>
            <a:solidFill>
              <a:schemeClr val="bg2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422775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4110">
          <p15:clr>
            <a:srgbClr val="FBAE40"/>
          </p15:clr>
        </p15:guide>
        <p15:guide id="5" orient="horz" pos="365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vertica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3B936A6-6D0A-4566-BF36-4BEDC89679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878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3B936A6-6D0A-4566-BF36-4BEDC89679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ihandsfigur: Form 2">
            <a:extLst>
              <a:ext uri="{FF2B5EF4-FFF2-40B4-BE49-F238E27FC236}">
                <a16:creationId xmlns:a16="http://schemas.microsoft.com/office/drawing/2014/main" id="{0AFA4C60-274D-49E6-9775-1A4C62E618C3}"/>
              </a:ext>
            </a:extLst>
          </p:cNvPr>
          <p:cNvSpPr/>
          <p:nvPr userDrawn="1"/>
        </p:nvSpPr>
        <p:spPr>
          <a:xfrm>
            <a:off x="-25400" y="-25400"/>
            <a:ext cx="8801100" cy="6896906"/>
          </a:xfrm>
          <a:custGeom>
            <a:avLst/>
            <a:gdLst>
              <a:gd name="connsiteX0" fmla="*/ 0 w 8801100"/>
              <a:gd name="connsiteY0" fmla="*/ 0 h 6946900"/>
              <a:gd name="connsiteX1" fmla="*/ 8801100 w 8801100"/>
              <a:gd name="connsiteY1" fmla="*/ 12700 h 6946900"/>
              <a:gd name="connsiteX2" fmla="*/ 5270500 w 8801100"/>
              <a:gd name="connsiteY2" fmla="*/ 6946900 h 6946900"/>
              <a:gd name="connsiteX3" fmla="*/ 25400 w 8801100"/>
              <a:gd name="connsiteY3" fmla="*/ 6883400 h 6946900"/>
              <a:gd name="connsiteX4" fmla="*/ 0 w 8801100"/>
              <a:gd name="connsiteY4" fmla="*/ 0 h 6946900"/>
              <a:gd name="connsiteX0" fmla="*/ 0 w 8801100"/>
              <a:gd name="connsiteY0" fmla="*/ 0 h 6934200"/>
              <a:gd name="connsiteX1" fmla="*/ 8801100 w 8801100"/>
              <a:gd name="connsiteY1" fmla="*/ 12700 h 6934200"/>
              <a:gd name="connsiteX2" fmla="*/ 5245100 w 8801100"/>
              <a:gd name="connsiteY2" fmla="*/ 6934200 h 6934200"/>
              <a:gd name="connsiteX3" fmla="*/ 25400 w 8801100"/>
              <a:gd name="connsiteY3" fmla="*/ 6883400 h 6934200"/>
              <a:gd name="connsiteX4" fmla="*/ 0 w 8801100"/>
              <a:gd name="connsiteY4" fmla="*/ 0 h 6934200"/>
              <a:gd name="connsiteX0" fmla="*/ 0 w 8801100"/>
              <a:gd name="connsiteY0" fmla="*/ 0 h 6934200"/>
              <a:gd name="connsiteX1" fmla="*/ 8801100 w 8801100"/>
              <a:gd name="connsiteY1" fmla="*/ 12700 h 6934200"/>
              <a:gd name="connsiteX2" fmla="*/ 5245100 w 8801100"/>
              <a:gd name="connsiteY2" fmla="*/ 6934200 h 6934200"/>
              <a:gd name="connsiteX3" fmla="*/ 25400 w 8801100"/>
              <a:gd name="connsiteY3" fmla="*/ 6920722 h 6934200"/>
              <a:gd name="connsiteX4" fmla="*/ 0 w 8801100"/>
              <a:gd name="connsiteY4" fmla="*/ 0 h 6934200"/>
              <a:gd name="connsiteX0" fmla="*/ 0 w 8801100"/>
              <a:gd name="connsiteY0" fmla="*/ 0 h 6920722"/>
              <a:gd name="connsiteX1" fmla="*/ 8801100 w 8801100"/>
              <a:gd name="connsiteY1" fmla="*/ 12700 h 6920722"/>
              <a:gd name="connsiteX2" fmla="*/ 5245100 w 8801100"/>
              <a:gd name="connsiteY2" fmla="*/ 6915539 h 6920722"/>
              <a:gd name="connsiteX3" fmla="*/ 25400 w 8801100"/>
              <a:gd name="connsiteY3" fmla="*/ 6920722 h 6920722"/>
              <a:gd name="connsiteX4" fmla="*/ 0 w 8801100"/>
              <a:gd name="connsiteY4" fmla="*/ 0 h 6920722"/>
              <a:gd name="connsiteX0" fmla="*/ 0 w 8801100"/>
              <a:gd name="connsiteY0" fmla="*/ 0 h 6920722"/>
              <a:gd name="connsiteX1" fmla="*/ 8801100 w 8801100"/>
              <a:gd name="connsiteY1" fmla="*/ 12700 h 6920722"/>
              <a:gd name="connsiteX2" fmla="*/ 5245100 w 8801100"/>
              <a:gd name="connsiteY2" fmla="*/ 6915539 h 6920722"/>
              <a:gd name="connsiteX3" fmla="*/ 25400 w 8801100"/>
              <a:gd name="connsiteY3" fmla="*/ 6920722 h 6920722"/>
              <a:gd name="connsiteX4" fmla="*/ 0 w 8801100"/>
              <a:gd name="connsiteY4" fmla="*/ 0 h 6920722"/>
              <a:gd name="connsiteX0" fmla="*/ 0 w 8801100"/>
              <a:gd name="connsiteY0" fmla="*/ 0 h 6934301"/>
              <a:gd name="connsiteX1" fmla="*/ 8801100 w 8801100"/>
              <a:gd name="connsiteY1" fmla="*/ 12700 h 6934301"/>
              <a:gd name="connsiteX2" fmla="*/ 5245100 w 8801100"/>
              <a:gd name="connsiteY2" fmla="*/ 6934301 h 6934301"/>
              <a:gd name="connsiteX3" fmla="*/ 25400 w 8801100"/>
              <a:gd name="connsiteY3" fmla="*/ 6920722 h 6934301"/>
              <a:gd name="connsiteX4" fmla="*/ 0 w 8801100"/>
              <a:gd name="connsiteY4" fmla="*/ 0 h 6934301"/>
              <a:gd name="connsiteX0" fmla="*/ 0 w 8801100"/>
              <a:gd name="connsiteY0" fmla="*/ 0 h 6934301"/>
              <a:gd name="connsiteX1" fmla="*/ 8801100 w 8801100"/>
              <a:gd name="connsiteY1" fmla="*/ 12700 h 6934301"/>
              <a:gd name="connsiteX2" fmla="*/ 5245100 w 8801100"/>
              <a:gd name="connsiteY2" fmla="*/ 6934301 h 6934301"/>
              <a:gd name="connsiteX3" fmla="*/ 25400 w 8801100"/>
              <a:gd name="connsiteY3" fmla="*/ 6927106 h 6934301"/>
              <a:gd name="connsiteX4" fmla="*/ 0 w 8801100"/>
              <a:gd name="connsiteY4" fmla="*/ 0 h 6934301"/>
              <a:gd name="connsiteX0" fmla="*/ 0 w 8801100"/>
              <a:gd name="connsiteY0" fmla="*/ 0 h 6934301"/>
              <a:gd name="connsiteX1" fmla="*/ 8801100 w 8801100"/>
              <a:gd name="connsiteY1" fmla="*/ 12700 h 6934301"/>
              <a:gd name="connsiteX2" fmla="*/ 5245100 w 8801100"/>
              <a:gd name="connsiteY2" fmla="*/ 6934301 h 6934301"/>
              <a:gd name="connsiteX3" fmla="*/ 19050 w 8801100"/>
              <a:gd name="connsiteY3" fmla="*/ 6927106 h 6934301"/>
              <a:gd name="connsiteX4" fmla="*/ 0 w 8801100"/>
              <a:gd name="connsiteY4" fmla="*/ 0 h 6934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01100" h="6934301">
                <a:moveTo>
                  <a:pt x="0" y="0"/>
                </a:moveTo>
                <a:lnTo>
                  <a:pt x="8801100" y="12700"/>
                </a:lnTo>
                <a:lnTo>
                  <a:pt x="5245100" y="6934301"/>
                </a:lnTo>
                <a:lnTo>
                  <a:pt x="19050" y="6927106"/>
                </a:lnTo>
                <a:cubicBezTo>
                  <a:pt x="23283" y="4641106"/>
                  <a:pt x="33867" y="2311400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10" name="TextBox 4">
            <a:extLst>
              <a:ext uri="{FF2B5EF4-FFF2-40B4-BE49-F238E27FC236}">
                <a16:creationId xmlns:a16="http://schemas.microsoft.com/office/drawing/2014/main" id="{D6FE0BDA-8381-43BB-A67E-857DF66ECCD3}"/>
              </a:ext>
            </a:extLst>
          </p:cNvPr>
          <p:cNvSpPr txBox="1"/>
          <p:nvPr userDrawn="1"/>
        </p:nvSpPr>
        <p:spPr>
          <a:xfrm>
            <a:off x="327380" y="2917557"/>
            <a:ext cx="56754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84" rtl="0">
              <a:lnSpc>
                <a:spcPct val="90000"/>
              </a:lnSpc>
            </a:pPr>
            <a:r>
              <a:rPr lang="en-US" sz="4000" b="1" noProof="0" dirty="0">
                <a:solidFill>
                  <a:schemeClr val="tx2"/>
                </a:solidFill>
                <a:ea typeface="+mj-ea"/>
              </a:rPr>
              <a:t>Thank You.</a:t>
            </a:r>
          </a:p>
        </p:txBody>
      </p:sp>
      <p:pic>
        <p:nvPicPr>
          <p:cNvPr id="11" name="Picture 7" descr="Essity_BBtW_Lockup_RGB_210223.png">
            <a:extLst>
              <a:ext uri="{FF2B5EF4-FFF2-40B4-BE49-F238E27FC236}">
                <a16:creationId xmlns:a16="http://schemas.microsoft.com/office/drawing/2014/main" id="{71C33381-1DD2-4D14-961A-C2D3412E6F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2100" y="6159215"/>
            <a:ext cx="1600200" cy="449019"/>
          </a:xfrm>
          <a:prstGeom prst="rect">
            <a:avLst/>
          </a:prstGeom>
        </p:spPr>
      </p:pic>
      <p:sp>
        <p:nvSpPr>
          <p:cNvPr id="21" name="Rektangel 20">
            <a:extLst>
              <a:ext uri="{FF2B5EF4-FFF2-40B4-BE49-F238E27FC236}">
                <a16:creationId xmlns:a16="http://schemas.microsoft.com/office/drawing/2014/main" id="{EE370F15-AE3B-4AAA-8ACD-AD3E26E15C51}"/>
              </a:ext>
            </a:extLst>
          </p:cNvPr>
          <p:cNvSpPr/>
          <p:nvPr userDrawn="1"/>
        </p:nvSpPr>
        <p:spPr>
          <a:xfrm>
            <a:off x="-2829522" y="382055"/>
            <a:ext cx="2512620" cy="393594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>
                <a:solidFill>
                  <a:schemeClr val="tx2"/>
                </a:solidFill>
              </a:rPr>
              <a:t>To change background color go to “Design”, Format Background and choose either </a:t>
            </a:r>
            <a:r>
              <a:rPr lang="en-US" b="1" noProof="0" dirty="0">
                <a:solidFill>
                  <a:schemeClr val="tx2"/>
                </a:solidFill>
              </a:rPr>
              <a:t>Essity Dark Blue or Magenta</a:t>
            </a:r>
            <a:r>
              <a:rPr lang="en-US" noProof="0" dirty="0">
                <a:solidFill>
                  <a:schemeClr val="tx2"/>
                </a:solidFill>
              </a:rPr>
              <a:t>. Do not use </a:t>
            </a:r>
            <a:r>
              <a:rPr lang="en-US" u="sng" noProof="0" dirty="0">
                <a:solidFill>
                  <a:schemeClr val="tx2"/>
                </a:solidFill>
              </a:rPr>
              <a:t>light blue, green or orange </a:t>
            </a:r>
          </a:p>
        </p:txBody>
      </p:sp>
      <p:pic>
        <p:nvPicPr>
          <p:cNvPr id="22" name="Bildobjekt 21">
            <a:extLst>
              <a:ext uri="{FF2B5EF4-FFF2-40B4-BE49-F238E27FC236}">
                <a16:creationId xmlns:a16="http://schemas.microsoft.com/office/drawing/2014/main" id="{CE313A58-F150-43BD-AEB8-58B9059421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668489" y="2811541"/>
            <a:ext cx="2190554" cy="1371679"/>
          </a:xfrm>
          <a:prstGeom prst="rect">
            <a:avLst/>
          </a:prstGeom>
        </p:spPr>
      </p:pic>
      <p:sp>
        <p:nvSpPr>
          <p:cNvPr id="23" name="Rektangel: rundade hörn 22">
            <a:extLst>
              <a:ext uri="{FF2B5EF4-FFF2-40B4-BE49-F238E27FC236}">
                <a16:creationId xmlns:a16="http://schemas.microsoft.com/office/drawing/2014/main" id="{F7D0F99F-0BF9-4BED-BD34-E8AECFDFCE3D}"/>
              </a:ext>
            </a:extLst>
          </p:cNvPr>
          <p:cNvSpPr/>
          <p:nvPr userDrawn="1"/>
        </p:nvSpPr>
        <p:spPr>
          <a:xfrm>
            <a:off x="-2242087" y="2811541"/>
            <a:ext cx="442913" cy="233363"/>
          </a:xfrm>
          <a:prstGeom prst="round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24" name="Rektangel: rundade hörn 23">
            <a:extLst>
              <a:ext uri="{FF2B5EF4-FFF2-40B4-BE49-F238E27FC236}">
                <a16:creationId xmlns:a16="http://schemas.microsoft.com/office/drawing/2014/main" id="{15E4D3C4-7923-4741-BEF7-FF8E0BC991CB}"/>
              </a:ext>
            </a:extLst>
          </p:cNvPr>
          <p:cNvSpPr/>
          <p:nvPr userDrawn="1"/>
        </p:nvSpPr>
        <p:spPr>
          <a:xfrm>
            <a:off x="-1131744" y="2811541"/>
            <a:ext cx="653809" cy="233363"/>
          </a:xfrm>
          <a:prstGeom prst="round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>
              <a:solidFill>
                <a:schemeClr val="tx2"/>
              </a:solidFill>
            </a:endParaRPr>
          </a:p>
        </p:txBody>
      </p:sp>
      <p:cxnSp>
        <p:nvCxnSpPr>
          <p:cNvPr id="25" name="Rak pilkoppling 24">
            <a:extLst>
              <a:ext uri="{FF2B5EF4-FFF2-40B4-BE49-F238E27FC236}">
                <a16:creationId xmlns:a16="http://schemas.microsoft.com/office/drawing/2014/main" id="{01DC4C51-E19E-47D0-A9C8-CDC67782CF08}"/>
              </a:ext>
            </a:extLst>
          </p:cNvPr>
          <p:cNvCxnSpPr>
            <a:cxnSpLocks/>
            <a:endCxn id="24" idx="0"/>
          </p:cNvCxnSpPr>
          <p:nvPr userDrawn="1"/>
        </p:nvCxnSpPr>
        <p:spPr>
          <a:xfrm>
            <a:off x="-1092200" y="2352332"/>
            <a:ext cx="287361" cy="45920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rihandsfigur: Form 25">
            <a:extLst>
              <a:ext uri="{FF2B5EF4-FFF2-40B4-BE49-F238E27FC236}">
                <a16:creationId xmlns:a16="http://schemas.microsoft.com/office/drawing/2014/main" id="{2CCCF4D9-1F7A-49AA-B50D-1A22ADC71115}"/>
              </a:ext>
            </a:extLst>
          </p:cNvPr>
          <p:cNvSpPr/>
          <p:nvPr userDrawn="1"/>
        </p:nvSpPr>
        <p:spPr>
          <a:xfrm>
            <a:off x="-2911475" y="1936407"/>
            <a:ext cx="660400" cy="981075"/>
          </a:xfrm>
          <a:custGeom>
            <a:avLst/>
            <a:gdLst>
              <a:gd name="connsiteX0" fmla="*/ 149225 w 660400"/>
              <a:gd name="connsiteY0" fmla="*/ 0 h 981075"/>
              <a:gd name="connsiteX1" fmla="*/ 0 w 660400"/>
              <a:gd name="connsiteY1" fmla="*/ 0 h 981075"/>
              <a:gd name="connsiteX2" fmla="*/ 0 w 660400"/>
              <a:gd name="connsiteY2" fmla="*/ 981075 h 981075"/>
              <a:gd name="connsiteX3" fmla="*/ 660400 w 660400"/>
              <a:gd name="connsiteY3" fmla="*/ 981075 h 981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0400" h="981075">
                <a:moveTo>
                  <a:pt x="149225" y="0"/>
                </a:moveTo>
                <a:lnTo>
                  <a:pt x="0" y="0"/>
                </a:lnTo>
                <a:lnTo>
                  <a:pt x="0" y="981075"/>
                </a:lnTo>
                <a:lnTo>
                  <a:pt x="660400" y="981075"/>
                </a:lnTo>
              </a:path>
            </a:pathLst>
          </a:custGeom>
          <a:noFill/>
          <a:ln>
            <a:solidFill>
              <a:schemeClr val="bg2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101000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4110">
          <p15:clr>
            <a:srgbClr val="FBAE40"/>
          </p15:clr>
        </p15:guide>
        <p15:guide id="5" orient="horz" pos="365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point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CEA0BBC-7BF8-4DFD-89A2-B4B6D8F41A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05933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4CEA0BBC-7BF8-4DFD-89A2-B4B6D8F41A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ihandsfigur: Form 11">
            <a:extLst>
              <a:ext uri="{FF2B5EF4-FFF2-40B4-BE49-F238E27FC236}">
                <a16:creationId xmlns:a16="http://schemas.microsoft.com/office/drawing/2014/main" id="{00B4DEF0-2FF7-4931-9C0A-BE8C07215774}"/>
              </a:ext>
            </a:extLst>
          </p:cNvPr>
          <p:cNvSpPr/>
          <p:nvPr userDrawn="1"/>
        </p:nvSpPr>
        <p:spPr>
          <a:xfrm>
            <a:off x="0" y="0"/>
            <a:ext cx="7988300" cy="6884663"/>
          </a:xfrm>
          <a:custGeom>
            <a:avLst/>
            <a:gdLst>
              <a:gd name="connsiteX0" fmla="*/ 7988300 w 7988300"/>
              <a:gd name="connsiteY0" fmla="*/ 6879482 h 6884663"/>
              <a:gd name="connsiteX1" fmla="*/ 7988300 w 7988300"/>
              <a:gd name="connsiteY1" fmla="*/ 6884663 h 6884663"/>
              <a:gd name="connsiteX2" fmla="*/ 6113344 w 7988300"/>
              <a:gd name="connsiteY2" fmla="*/ 6884663 h 6884663"/>
              <a:gd name="connsiteX3" fmla="*/ 0 w 7988300"/>
              <a:gd name="connsiteY3" fmla="*/ 0 h 6884663"/>
              <a:gd name="connsiteX4" fmla="*/ 6123148 w 7988300"/>
              <a:gd name="connsiteY4" fmla="*/ 0 h 6884663"/>
              <a:gd name="connsiteX5" fmla="*/ 7826476 w 7988300"/>
              <a:gd name="connsiteY5" fmla="*/ 3383533 h 6884663"/>
              <a:gd name="connsiteX6" fmla="*/ 7826126 w 7988300"/>
              <a:gd name="connsiteY6" fmla="*/ 3383504 h 6884663"/>
              <a:gd name="connsiteX7" fmla="*/ 7851571 w 7988300"/>
              <a:gd name="connsiteY7" fmla="*/ 3475235 h 6884663"/>
              <a:gd name="connsiteX8" fmla="*/ 7823745 w 7988300"/>
              <a:gd name="connsiteY8" fmla="*/ 3564589 h 6884663"/>
              <a:gd name="connsiteX9" fmla="*/ 7823804 w 7988300"/>
              <a:gd name="connsiteY9" fmla="*/ 3563147 h 6884663"/>
              <a:gd name="connsiteX10" fmla="*/ 6113344 w 7988300"/>
              <a:gd name="connsiteY10" fmla="*/ 6884663 h 6884663"/>
              <a:gd name="connsiteX11" fmla="*/ 0 w 7988300"/>
              <a:gd name="connsiteY11" fmla="*/ 6884663 h 6884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988300" h="6884663">
                <a:moveTo>
                  <a:pt x="7988300" y="6879482"/>
                </a:moveTo>
                <a:lnTo>
                  <a:pt x="7988300" y="6884663"/>
                </a:lnTo>
                <a:lnTo>
                  <a:pt x="6113344" y="6884663"/>
                </a:lnTo>
                <a:close/>
                <a:moveTo>
                  <a:pt x="0" y="0"/>
                </a:moveTo>
                <a:lnTo>
                  <a:pt x="6123148" y="0"/>
                </a:lnTo>
                <a:lnTo>
                  <a:pt x="7826476" y="3383533"/>
                </a:lnTo>
                <a:cubicBezTo>
                  <a:pt x="7825566" y="3384315"/>
                  <a:pt x="7827036" y="3382723"/>
                  <a:pt x="7826126" y="3383504"/>
                </a:cubicBezTo>
                <a:cubicBezTo>
                  <a:pt x="7843318" y="3406372"/>
                  <a:pt x="7851968" y="3445054"/>
                  <a:pt x="7851571" y="3475235"/>
                </a:cubicBezTo>
                <a:cubicBezTo>
                  <a:pt x="7851174" y="3505415"/>
                  <a:pt x="7840937" y="3541722"/>
                  <a:pt x="7823745" y="3564589"/>
                </a:cubicBezTo>
                <a:cubicBezTo>
                  <a:pt x="7823765" y="3564108"/>
                  <a:pt x="7823784" y="3563628"/>
                  <a:pt x="7823804" y="3563147"/>
                </a:cubicBezTo>
                <a:lnTo>
                  <a:pt x="6113344" y="6884663"/>
                </a:lnTo>
                <a:lnTo>
                  <a:pt x="0" y="68846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10" name="TextBox 4">
            <a:extLst>
              <a:ext uri="{FF2B5EF4-FFF2-40B4-BE49-F238E27FC236}">
                <a16:creationId xmlns:a16="http://schemas.microsoft.com/office/drawing/2014/main" id="{D6FE0BDA-8381-43BB-A67E-857DF66ECCD3}"/>
              </a:ext>
            </a:extLst>
          </p:cNvPr>
          <p:cNvSpPr txBox="1"/>
          <p:nvPr userDrawn="1"/>
        </p:nvSpPr>
        <p:spPr>
          <a:xfrm>
            <a:off x="334963" y="3135352"/>
            <a:ext cx="56754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84" rtl="0">
              <a:lnSpc>
                <a:spcPct val="90000"/>
              </a:lnSpc>
            </a:pPr>
            <a:r>
              <a:rPr lang="en-US" sz="4000" b="1" noProof="0" dirty="0">
                <a:solidFill>
                  <a:schemeClr val="tx2"/>
                </a:solidFill>
                <a:ea typeface="+mj-ea"/>
              </a:rPr>
              <a:t>Thank You.</a:t>
            </a:r>
          </a:p>
        </p:txBody>
      </p:sp>
      <p:pic>
        <p:nvPicPr>
          <p:cNvPr id="11" name="Picture 7" descr="Essity_BBtW_Lockup_RGB_210223.png">
            <a:extLst>
              <a:ext uri="{FF2B5EF4-FFF2-40B4-BE49-F238E27FC236}">
                <a16:creationId xmlns:a16="http://schemas.microsoft.com/office/drawing/2014/main" id="{71C33381-1DD2-4D14-961A-C2D3412E6F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2100" y="6159215"/>
            <a:ext cx="1600200" cy="449019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9BDC63CE-9FF9-4B48-8C12-9A429DD6BA23}"/>
              </a:ext>
            </a:extLst>
          </p:cNvPr>
          <p:cNvSpPr/>
          <p:nvPr userDrawn="1"/>
        </p:nvSpPr>
        <p:spPr>
          <a:xfrm>
            <a:off x="-2829522" y="382055"/>
            <a:ext cx="2512620" cy="393594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>
                <a:solidFill>
                  <a:schemeClr val="tx2"/>
                </a:solidFill>
              </a:rPr>
              <a:t>To change background color go to “Design”, Format Background and choose either </a:t>
            </a:r>
            <a:r>
              <a:rPr lang="en-US" b="1" noProof="0" dirty="0">
                <a:solidFill>
                  <a:schemeClr val="tx2"/>
                </a:solidFill>
              </a:rPr>
              <a:t>Essity Dark Blue or Magenta</a:t>
            </a:r>
            <a:r>
              <a:rPr lang="en-US" noProof="0" dirty="0">
                <a:solidFill>
                  <a:schemeClr val="tx2"/>
                </a:solidFill>
              </a:rPr>
              <a:t>. Do not use </a:t>
            </a:r>
            <a:r>
              <a:rPr lang="en-US" u="sng" noProof="0" dirty="0">
                <a:solidFill>
                  <a:schemeClr val="tx2"/>
                </a:solidFill>
              </a:rPr>
              <a:t>light blue, green or orange </a:t>
            </a:r>
          </a:p>
        </p:txBody>
      </p:sp>
      <p:pic>
        <p:nvPicPr>
          <p:cNvPr id="17" name="Bildobjekt 16">
            <a:extLst>
              <a:ext uri="{FF2B5EF4-FFF2-40B4-BE49-F238E27FC236}">
                <a16:creationId xmlns:a16="http://schemas.microsoft.com/office/drawing/2014/main" id="{42AADAE7-23C0-4CFD-AEBC-BF5139F746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668489" y="2811541"/>
            <a:ext cx="2190554" cy="1371679"/>
          </a:xfrm>
          <a:prstGeom prst="rect">
            <a:avLst/>
          </a:prstGeom>
        </p:spPr>
      </p:pic>
      <p:sp>
        <p:nvSpPr>
          <p:cNvPr id="18" name="Rektangel: rundade hörn 17">
            <a:extLst>
              <a:ext uri="{FF2B5EF4-FFF2-40B4-BE49-F238E27FC236}">
                <a16:creationId xmlns:a16="http://schemas.microsoft.com/office/drawing/2014/main" id="{08F1B820-9F49-4C62-A0CE-A8544DED40DE}"/>
              </a:ext>
            </a:extLst>
          </p:cNvPr>
          <p:cNvSpPr/>
          <p:nvPr userDrawn="1"/>
        </p:nvSpPr>
        <p:spPr>
          <a:xfrm>
            <a:off x="-2242087" y="2811541"/>
            <a:ext cx="442913" cy="233363"/>
          </a:xfrm>
          <a:prstGeom prst="round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23" name="Rektangel: rundade hörn 22">
            <a:extLst>
              <a:ext uri="{FF2B5EF4-FFF2-40B4-BE49-F238E27FC236}">
                <a16:creationId xmlns:a16="http://schemas.microsoft.com/office/drawing/2014/main" id="{7B30FAE3-1EE3-4032-A0D8-5DFC95BAA097}"/>
              </a:ext>
            </a:extLst>
          </p:cNvPr>
          <p:cNvSpPr/>
          <p:nvPr userDrawn="1"/>
        </p:nvSpPr>
        <p:spPr>
          <a:xfrm>
            <a:off x="-1131744" y="2811541"/>
            <a:ext cx="653809" cy="233363"/>
          </a:xfrm>
          <a:prstGeom prst="round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>
              <a:solidFill>
                <a:schemeClr val="tx2"/>
              </a:solidFill>
            </a:endParaRPr>
          </a:p>
        </p:txBody>
      </p:sp>
      <p:cxnSp>
        <p:nvCxnSpPr>
          <p:cNvPr id="24" name="Rak pilkoppling 23">
            <a:extLst>
              <a:ext uri="{FF2B5EF4-FFF2-40B4-BE49-F238E27FC236}">
                <a16:creationId xmlns:a16="http://schemas.microsoft.com/office/drawing/2014/main" id="{CEFEC407-5D10-40B5-896B-F8943074CAA5}"/>
              </a:ext>
            </a:extLst>
          </p:cNvPr>
          <p:cNvCxnSpPr>
            <a:cxnSpLocks/>
            <a:endCxn id="23" idx="0"/>
          </p:cNvCxnSpPr>
          <p:nvPr userDrawn="1"/>
        </p:nvCxnSpPr>
        <p:spPr>
          <a:xfrm>
            <a:off x="-1092200" y="2352332"/>
            <a:ext cx="287361" cy="45920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rihandsfigur: Form 24">
            <a:extLst>
              <a:ext uri="{FF2B5EF4-FFF2-40B4-BE49-F238E27FC236}">
                <a16:creationId xmlns:a16="http://schemas.microsoft.com/office/drawing/2014/main" id="{4E846261-36DC-4F0A-980A-FFE354791D19}"/>
              </a:ext>
            </a:extLst>
          </p:cNvPr>
          <p:cNvSpPr/>
          <p:nvPr userDrawn="1"/>
        </p:nvSpPr>
        <p:spPr>
          <a:xfrm>
            <a:off x="-2911475" y="1936407"/>
            <a:ext cx="660400" cy="981075"/>
          </a:xfrm>
          <a:custGeom>
            <a:avLst/>
            <a:gdLst>
              <a:gd name="connsiteX0" fmla="*/ 149225 w 660400"/>
              <a:gd name="connsiteY0" fmla="*/ 0 h 981075"/>
              <a:gd name="connsiteX1" fmla="*/ 0 w 660400"/>
              <a:gd name="connsiteY1" fmla="*/ 0 h 981075"/>
              <a:gd name="connsiteX2" fmla="*/ 0 w 660400"/>
              <a:gd name="connsiteY2" fmla="*/ 981075 h 981075"/>
              <a:gd name="connsiteX3" fmla="*/ 660400 w 660400"/>
              <a:gd name="connsiteY3" fmla="*/ 981075 h 981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0400" h="981075">
                <a:moveTo>
                  <a:pt x="149225" y="0"/>
                </a:moveTo>
                <a:lnTo>
                  <a:pt x="0" y="0"/>
                </a:lnTo>
                <a:lnTo>
                  <a:pt x="0" y="981075"/>
                </a:lnTo>
                <a:lnTo>
                  <a:pt x="660400" y="981075"/>
                </a:lnTo>
              </a:path>
            </a:pathLst>
          </a:custGeom>
          <a:noFill/>
          <a:ln>
            <a:solidFill>
              <a:schemeClr val="bg2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527560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4110">
          <p15:clr>
            <a:srgbClr val="FBAE40"/>
          </p15:clr>
        </p15:guide>
        <p15:guide id="5" orient="horz" pos="365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ted start/end slide - Essity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56188" y="2061893"/>
            <a:ext cx="6972872" cy="2903039"/>
          </a:xfrm>
          <a:prstGeom prst="rect">
            <a:avLst/>
          </a:prstGeom>
        </p:spPr>
      </p:pic>
      <p:pic>
        <p:nvPicPr>
          <p:cNvPr id="2" name="Logo_Animation_PPT_BBtW_Forward 07">
            <a:hlinkClick r:id="" action="ppaction://media"/>
            <a:extLst>
              <a:ext uri="{FF2B5EF4-FFF2-40B4-BE49-F238E27FC236}">
                <a16:creationId xmlns:a16="http://schemas.microsoft.com/office/drawing/2014/main" id="{DD7B27D7-1CEE-41A9-962D-336F8E442E6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Logo_Animation_PPT_Forward 07">
            <a:hlinkClick r:id="" action="ppaction://media"/>
            <a:extLst>
              <a:ext uri="{FF2B5EF4-FFF2-40B4-BE49-F238E27FC236}">
                <a16:creationId xmlns:a16="http://schemas.microsoft.com/office/drawing/2014/main" id="{E5E770EA-EF82-4F4E-9883-69E604B7B77C}"/>
              </a:ext>
            </a:extLst>
          </p:cNvPr>
          <p:cNvPicPr>
            <a:picLocks noChangeAspect="1"/>
          </p:cNvPicPr>
          <p:nvPr userDrawn="1"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0223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4074"/>
                            </p:stCondLst>
                            <p:childTnLst>
                              <p:par>
                                <p:cTn id="8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9" dur="4074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0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11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2" fill="hold">
                      <p:stCondLst>
                        <p:cond delay="0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5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16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17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8" fill="hold">
                      <p:stCondLst>
                        <p:cond delay="0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1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/Magenta start slide pointer with im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5" descr="Logtype_white.png">
            <a:extLst>
              <a:ext uri="{FF2B5EF4-FFF2-40B4-BE49-F238E27FC236}">
                <a16:creationId xmlns:a16="http://schemas.microsoft.com/office/drawing/2014/main" id="{9CB266FA-29C9-484F-BCB6-50E53F08B2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2255" y="3067050"/>
            <a:ext cx="2740773" cy="685800"/>
          </a:xfrm>
          <a:prstGeom prst="rect">
            <a:avLst/>
          </a:prstGeom>
        </p:spPr>
      </p:pic>
      <p:sp>
        <p:nvSpPr>
          <p:cNvPr id="21" name="Platshållare för bild 20">
            <a:extLst>
              <a:ext uri="{FF2B5EF4-FFF2-40B4-BE49-F238E27FC236}">
                <a16:creationId xmlns:a16="http://schemas.microsoft.com/office/drawing/2014/main" id="{0EAEE30B-A865-444E-81DC-02E6A9746E8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750745" y="-31870"/>
            <a:ext cx="8460305" cy="6897600"/>
          </a:xfrm>
          <a:custGeom>
            <a:avLst/>
            <a:gdLst>
              <a:gd name="connsiteX0" fmla="*/ 0 w 9448800"/>
              <a:gd name="connsiteY0" fmla="*/ 0 h 6897600"/>
              <a:gd name="connsiteX1" fmla="*/ 9448800 w 9448800"/>
              <a:gd name="connsiteY1" fmla="*/ 0 h 6897600"/>
              <a:gd name="connsiteX2" fmla="*/ 9448800 w 9448800"/>
              <a:gd name="connsiteY2" fmla="*/ 6897600 h 6897600"/>
              <a:gd name="connsiteX3" fmla="*/ 0 w 9448800"/>
              <a:gd name="connsiteY3" fmla="*/ 6897600 h 6897600"/>
              <a:gd name="connsiteX4" fmla="*/ 0 w 9448800"/>
              <a:gd name="connsiteY4" fmla="*/ 6896850 h 6897600"/>
              <a:gd name="connsiteX5" fmla="*/ 1007545 w 9448800"/>
              <a:gd name="connsiteY5" fmla="*/ 6896850 h 6897600"/>
              <a:gd name="connsiteX6" fmla="*/ 2723875 w 9448800"/>
              <a:gd name="connsiteY6" fmla="*/ 3555970 h 6897600"/>
              <a:gd name="connsiteX7" fmla="*/ 2723815 w 9448800"/>
              <a:gd name="connsiteY7" fmla="*/ 3557416 h 6897600"/>
              <a:gd name="connsiteX8" fmla="*/ 2751642 w 9448800"/>
              <a:gd name="connsiteY8" fmla="*/ 3467848 h 6897600"/>
              <a:gd name="connsiteX9" fmla="*/ 2726196 w 9448800"/>
              <a:gd name="connsiteY9" fmla="*/ 3375898 h 6897600"/>
              <a:gd name="connsiteX10" fmla="*/ 2726546 w 9448800"/>
              <a:gd name="connsiteY10" fmla="*/ 3375927 h 6897600"/>
              <a:gd name="connsiteX11" fmla="*/ 1032945 w 9448800"/>
              <a:gd name="connsiteY11" fmla="*/ 13450 h 6897600"/>
              <a:gd name="connsiteX12" fmla="*/ 0 w 9448800"/>
              <a:gd name="connsiteY12" fmla="*/ 9984 h 6897600"/>
              <a:gd name="connsiteX0" fmla="*/ 0 w 9448800"/>
              <a:gd name="connsiteY0" fmla="*/ 9984 h 6897600"/>
              <a:gd name="connsiteX1" fmla="*/ 9448800 w 9448800"/>
              <a:gd name="connsiteY1" fmla="*/ 0 h 6897600"/>
              <a:gd name="connsiteX2" fmla="*/ 9448800 w 9448800"/>
              <a:gd name="connsiteY2" fmla="*/ 6897600 h 6897600"/>
              <a:gd name="connsiteX3" fmla="*/ 0 w 9448800"/>
              <a:gd name="connsiteY3" fmla="*/ 6897600 h 6897600"/>
              <a:gd name="connsiteX4" fmla="*/ 0 w 9448800"/>
              <a:gd name="connsiteY4" fmla="*/ 6896850 h 6897600"/>
              <a:gd name="connsiteX5" fmla="*/ 1007545 w 9448800"/>
              <a:gd name="connsiteY5" fmla="*/ 6896850 h 6897600"/>
              <a:gd name="connsiteX6" fmla="*/ 2723875 w 9448800"/>
              <a:gd name="connsiteY6" fmla="*/ 3555970 h 6897600"/>
              <a:gd name="connsiteX7" fmla="*/ 2723815 w 9448800"/>
              <a:gd name="connsiteY7" fmla="*/ 3557416 h 6897600"/>
              <a:gd name="connsiteX8" fmla="*/ 2751642 w 9448800"/>
              <a:gd name="connsiteY8" fmla="*/ 3467848 h 6897600"/>
              <a:gd name="connsiteX9" fmla="*/ 2726196 w 9448800"/>
              <a:gd name="connsiteY9" fmla="*/ 3375898 h 6897600"/>
              <a:gd name="connsiteX10" fmla="*/ 2726546 w 9448800"/>
              <a:gd name="connsiteY10" fmla="*/ 3375927 h 6897600"/>
              <a:gd name="connsiteX11" fmla="*/ 1032945 w 9448800"/>
              <a:gd name="connsiteY11" fmla="*/ 13450 h 6897600"/>
              <a:gd name="connsiteX12" fmla="*/ 0 w 9448800"/>
              <a:gd name="connsiteY12" fmla="*/ 9984 h 6897600"/>
              <a:gd name="connsiteX0" fmla="*/ 1032945 w 9448800"/>
              <a:gd name="connsiteY0" fmla="*/ 13450 h 6897600"/>
              <a:gd name="connsiteX1" fmla="*/ 9448800 w 9448800"/>
              <a:gd name="connsiteY1" fmla="*/ 0 h 6897600"/>
              <a:gd name="connsiteX2" fmla="*/ 9448800 w 9448800"/>
              <a:gd name="connsiteY2" fmla="*/ 6897600 h 6897600"/>
              <a:gd name="connsiteX3" fmla="*/ 0 w 9448800"/>
              <a:gd name="connsiteY3" fmla="*/ 6897600 h 6897600"/>
              <a:gd name="connsiteX4" fmla="*/ 0 w 9448800"/>
              <a:gd name="connsiteY4" fmla="*/ 6896850 h 6897600"/>
              <a:gd name="connsiteX5" fmla="*/ 1007545 w 9448800"/>
              <a:gd name="connsiteY5" fmla="*/ 6896850 h 6897600"/>
              <a:gd name="connsiteX6" fmla="*/ 2723875 w 9448800"/>
              <a:gd name="connsiteY6" fmla="*/ 3555970 h 6897600"/>
              <a:gd name="connsiteX7" fmla="*/ 2723815 w 9448800"/>
              <a:gd name="connsiteY7" fmla="*/ 3557416 h 6897600"/>
              <a:gd name="connsiteX8" fmla="*/ 2751642 w 9448800"/>
              <a:gd name="connsiteY8" fmla="*/ 3467848 h 6897600"/>
              <a:gd name="connsiteX9" fmla="*/ 2726196 w 9448800"/>
              <a:gd name="connsiteY9" fmla="*/ 3375898 h 6897600"/>
              <a:gd name="connsiteX10" fmla="*/ 2726546 w 9448800"/>
              <a:gd name="connsiteY10" fmla="*/ 3375927 h 6897600"/>
              <a:gd name="connsiteX11" fmla="*/ 1032945 w 9448800"/>
              <a:gd name="connsiteY11" fmla="*/ 13450 h 6897600"/>
              <a:gd name="connsiteX0" fmla="*/ 1032945 w 9448800"/>
              <a:gd name="connsiteY0" fmla="*/ 13450 h 6897600"/>
              <a:gd name="connsiteX1" fmla="*/ 9448800 w 9448800"/>
              <a:gd name="connsiteY1" fmla="*/ 0 h 6897600"/>
              <a:gd name="connsiteX2" fmla="*/ 9448800 w 9448800"/>
              <a:gd name="connsiteY2" fmla="*/ 6897600 h 6897600"/>
              <a:gd name="connsiteX3" fmla="*/ 0 w 9448800"/>
              <a:gd name="connsiteY3" fmla="*/ 6897600 h 6897600"/>
              <a:gd name="connsiteX4" fmla="*/ 1007545 w 9448800"/>
              <a:gd name="connsiteY4" fmla="*/ 6896850 h 6897600"/>
              <a:gd name="connsiteX5" fmla="*/ 2723875 w 9448800"/>
              <a:gd name="connsiteY5" fmla="*/ 3555970 h 6897600"/>
              <a:gd name="connsiteX6" fmla="*/ 2723815 w 9448800"/>
              <a:gd name="connsiteY6" fmla="*/ 3557416 h 6897600"/>
              <a:gd name="connsiteX7" fmla="*/ 2751642 w 9448800"/>
              <a:gd name="connsiteY7" fmla="*/ 3467848 h 6897600"/>
              <a:gd name="connsiteX8" fmla="*/ 2726196 w 9448800"/>
              <a:gd name="connsiteY8" fmla="*/ 3375898 h 6897600"/>
              <a:gd name="connsiteX9" fmla="*/ 2726546 w 9448800"/>
              <a:gd name="connsiteY9" fmla="*/ 3375927 h 6897600"/>
              <a:gd name="connsiteX10" fmla="*/ 1032945 w 9448800"/>
              <a:gd name="connsiteY10" fmla="*/ 13450 h 6897600"/>
              <a:gd name="connsiteX0" fmla="*/ 25400 w 8441255"/>
              <a:gd name="connsiteY0" fmla="*/ 13450 h 6897600"/>
              <a:gd name="connsiteX1" fmla="*/ 8441255 w 8441255"/>
              <a:gd name="connsiteY1" fmla="*/ 0 h 6897600"/>
              <a:gd name="connsiteX2" fmla="*/ 8441255 w 8441255"/>
              <a:gd name="connsiteY2" fmla="*/ 6897600 h 6897600"/>
              <a:gd name="connsiteX3" fmla="*/ 0 w 8441255"/>
              <a:gd name="connsiteY3" fmla="*/ 6896850 h 6897600"/>
              <a:gd name="connsiteX4" fmla="*/ 1716330 w 8441255"/>
              <a:gd name="connsiteY4" fmla="*/ 3555970 h 6897600"/>
              <a:gd name="connsiteX5" fmla="*/ 1716270 w 8441255"/>
              <a:gd name="connsiteY5" fmla="*/ 3557416 h 6897600"/>
              <a:gd name="connsiteX6" fmla="*/ 1744097 w 8441255"/>
              <a:gd name="connsiteY6" fmla="*/ 3467848 h 6897600"/>
              <a:gd name="connsiteX7" fmla="*/ 1718651 w 8441255"/>
              <a:gd name="connsiteY7" fmla="*/ 3375898 h 6897600"/>
              <a:gd name="connsiteX8" fmla="*/ 1719001 w 8441255"/>
              <a:gd name="connsiteY8" fmla="*/ 3375927 h 6897600"/>
              <a:gd name="connsiteX9" fmla="*/ 25400 w 8441255"/>
              <a:gd name="connsiteY9" fmla="*/ 13450 h 6897600"/>
              <a:gd name="connsiteX0" fmla="*/ 25400 w 8460305"/>
              <a:gd name="connsiteY0" fmla="*/ 13450 h 6897600"/>
              <a:gd name="connsiteX1" fmla="*/ 8460305 w 8460305"/>
              <a:gd name="connsiteY1" fmla="*/ 0 h 6897600"/>
              <a:gd name="connsiteX2" fmla="*/ 8441255 w 8460305"/>
              <a:gd name="connsiteY2" fmla="*/ 6897600 h 6897600"/>
              <a:gd name="connsiteX3" fmla="*/ 0 w 8460305"/>
              <a:gd name="connsiteY3" fmla="*/ 6896850 h 6897600"/>
              <a:gd name="connsiteX4" fmla="*/ 1716330 w 8460305"/>
              <a:gd name="connsiteY4" fmla="*/ 3555970 h 6897600"/>
              <a:gd name="connsiteX5" fmla="*/ 1716270 w 8460305"/>
              <a:gd name="connsiteY5" fmla="*/ 3557416 h 6897600"/>
              <a:gd name="connsiteX6" fmla="*/ 1744097 w 8460305"/>
              <a:gd name="connsiteY6" fmla="*/ 3467848 h 6897600"/>
              <a:gd name="connsiteX7" fmla="*/ 1718651 w 8460305"/>
              <a:gd name="connsiteY7" fmla="*/ 3375898 h 6897600"/>
              <a:gd name="connsiteX8" fmla="*/ 1719001 w 8460305"/>
              <a:gd name="connsiteY8" fmla="*/ 3375927 h 6897600"/>
              <a:gd name="connsiteX9" fmla="*/ 25400 w 8460305"/>
              <a:gd name="connsiteY9" fmla="*/ 13450 h 689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460305" h="6897600">
                <a:moveTo>
                  <a:pt x="25400" y="13450"/>
                </a:moveTo>
                <a:lnTo>
                  <a:pt x="8460305" y="0"/>
                </a:lnTo>
                <a:lnTo>
                  <a:pt x="8441255" y="6897600"/>
                </a:lnTo>
                <a:lnTo>
                  <a:pt x="0" y="6896850"/>
                </a:lnTo>
                <a:lnTo>
                  <a:pt x="1716330" y="3555970"/>
                </a:lnTo>
                <a:lnTo>
                  <a:pt x="1716270" y="3557416"/>
                </a:lnTo>
                <a:cubicBezTo>
                  <a:pt x="1733462" y="3534494"/>
                  <a:pt x="1743699" y="3498101"/>
                  <a:pt x="1744097" y="3467848"/>
                </a:cubicBezTo>
                <a:cubicBezTo>
                  <a:pt x="1744493" y="3437595"/>
                  <a:pt x="1735843" y="3398820"/>
                  <a:pt x="1718651" y="3375898"/>
                </a:cubicBezTo>
                <a:cubicBezTo>
                  <a:pt x="1719561" y="3375114"/>
                  <a:pt x="1718092" y="3376711"/>
                  <a:pt x="1719001" y="3375927"/>
                </a:cubicBezTo>
                <a:lnTo>
                  <a:pt x="25400" y="13450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9" name="Rektangel 8"/>
          <p:cNvSpPr/>
          <p:nvPr userDrawn="1"/>
        </p:nvSpPr>
        <p:spPr>
          <a:xfrm>
            <a:off x="-2829522" y="382054"/>
            <a:ext cx="2512620" cy="53469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tx2"/>
                </a:solidFill>
              </a:rPr>
              <a:t>Add image by clicking on the image icon or leave background dark blue or magenta. </a:t>
            </a:r>
          </a:p>
          <a:p>
            <a:pPr algn="l"/>
            <a:endParaRPr lang="en-US" dirty="0">
              <a:solidFill>
                <a:schemeClr val="tx2"/>
              </a:solidFill>
            </a:endParaRPr>
          </a:p>
          <a:p>
            <a:pPr algn="l"/>
            <a:r>
              <a:rPr lang="en-US" dirty="0">
                <a:solidFill>
                  <a:schemeClr val="tx2"/>
                </a:solidFill>
              </a:rPr>
              <a:t>To change background color go to “Design”, Format Background and choose either </a:t>
            </a:r>
            <a:r>
              <a:rPr lang="en-US" b="1" dirty="0">
                <a:solidFill>
                  <a:schemeClr val="tx2"/>
                </a:solidFill>
              </a:rPr>
              <a:t>Essity Dark Blue or Magenta</a:t>
            </a:r>
            <a:r>
              <a:rPr lang="en-US" dirty="0">
                <a:solidFill>
                  <a:schemeClr val="tx2"/>
                </a:solidFill>
              </a:rPr>
              <a:t>. Do not use </a:t>
            </a:r>
            <a:r>
              <a:rPr lang="en-US" u="sng" dirty="0">
                <a:solidFill>
                  <a:schemeClr val="tx2"/>
                </a:solidFill>
              </a:rPr>
              <a:t>light blue, green or orange </a:t>
            </a:r>
          </a:p>
        </p:txBody>
      </p:sp>
      <p:sp>
        <p:nvSpPr>
          <p:cNvPr id="5" name="Rektangel: rundade hörn 4">
            <a:extLst>
              <a:ext uri="{FF2B5EF4-FFF2-40B4-BE49-F238E27FC236}">
                <a16:creationId xmlns:a16="http://schemas.microsoft.com/office/drawing/2014/main" id="{83B4AD7F-895B-4D34-AFF4-E25C012EDCFB}"/>
              </a:ext>
            </a:extLst>
          </p:cNvPr>
          <p:cNvSpPr/>
          <p:nvPr userDrawn="1"/>
        </p:nvSpPr>
        <p:spPr>
          <a:xfrm>
            <a:off x="-2242087" y="5072890"/>
            <a:ext cx="442913" cy="233363"/>
          </a:xfrm>
          <a:prstGeom prst="roundRect">
            <a:avLst/>
          </a:prstGeom>
          <a:noFill/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2"/>
              </a:solidFill>
            </a:endParaRPr>
          </a:p>
        </p:txBody>
      </p:sp>
      <p:sp>
        <p:nvSpPr>
          <p:cNvPr id="7" name="Rektangel: rundade hörn 6">
            <a:extLst>
              <a:ext uri="{FF2B5EF4-FFF2-40B4-BE49-F238E27FC236}">
                <a16:creationId xmlns:a16="http://schemas.microsoft.com/office/drawing/2014/main" id="{8D234D5E-8314-445B-BE42-50F79C4D0585}"/>
              </a:ext>
            </a:extLst>
          </p:cNvPr>
          <p:cNvSpPr/>
          <p:nvPr userDrawn="1"/>
        </p:nvSpPr>
        <p:spPr>
          <a:xfrm>
            <a:off x="-1426052" y="5072890"/>
            <a:ext cx="442913" cy="233363"/>
          </a:xfrm>
          <a:prstGeom prst="roundRect">
            <a:avLst/>
          </a:prstGeom>
          <a:noFill/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2"/>
              </a:solidFill>
            </a:endParaRP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3C21FB98-054C-4595-9C87-A875FE5E8A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668489" y="4170784"/>
            <a:ext cx="2190554" cy="1371679"/>
          </a:xfrm>
          <a:prstGeom prst="rect">
            <a:avLst/>
          </a:prstGeom>
        </p:spPr>
      </p:pic>
      <p:sp>
        <p:nvSpPr>
          <p:cNvPr id="2" name="Rektangel: rundade hörn 1">
            <a:extLst>
              <a:ext uri="{FF2B5EF4-FFF2-40B4-BE49-F238E27FC236}">
                <a16:creationId xmlns:a16="http://schemas.microsoft.com/office/drawing/2014/main" id="{A29C136A-6627-48A9-A1EF-26FA8F0E9015}"/>
              </a:ext>
            </a:extLst>
          </p:cNvPr>
          <p:cNvSpPr/>
          <p:nvPr userDrawn="1"/>
        </p:nvSpPr>
        <p:spPr>
          <a:xfrm>
            <a:off x="-2242087" y="4186659"/>
            <a:ext cx="442913" cy="233363"/>
          </a:xfrm>
          <a:prstGeom prst="round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11" name="Rektangel: rundade hörn 10">
            <a:extLst>
              <a:ext uri="{FF2B5EF4-FFF2-40B4-BE49-F238E27FC236}">
                <a16:creationId xmlns:a16="http://schemas.microsoft.com/office/drawing/2014/main" id="{12E1C5E6-B911-4D6D-A732-65E62B626B56}"/>
              </a:ext>
            </a:extLst>
          </p:cNvPr>
          <p:cNvSpPr/>
          <p:nvPr userDrawn="1"/>
        </p:nvSpPr>
        <p:spPr>
          <a:xfrm>
            <a:off x="-1131744" y="4186659"/>
            <a:ext cx="653809" cy="233363"/>
          </a:xfrm>
          <a:prstGeom prst="round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13" name="Rak pilkoppling 12">
            <a:extLst>
              <a:ext uri="{FF2B5EF4-FFF2-40B4-BE49-F238E27FC236}">
                <a16:creationId xmlns:a16="http://schemas.microsoft.com/office/drawing/2014/main" id="{6029E03C-29D2-4646-99C4-09911885C1BB}"/>
              </a:ext>
            </a:extLst>
          </p:cNvPr>
          <p:cNvCxnSpPr>
            <a:cxnSpLocks/>
            <a:endCxn id="11" idx="0"/>
          </p:cNvCxnSpPr>
          <p:nvPr userDrawn="1"/>
        </p:nvCxnSpPr>
        <p:spPr>
          <a:xfrm>
            <a:off x="-1092200" y="3727450"/>
            <a:ext cx="287361" cy="45920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rihandsfigur: Form 13">
            <a:extLst>
              <a:ext uri="{FF2B5EF4-FFF2-40B4-BE49-F238E27FC236}">
                <a16:creationId xmlns:a16="http://schemas.microsoft.com/office/drawing/2014/main" id="{7E816504-BD86-4BBA-8634-4251D033333C}"/>
              </a:ext>
            </a:extLst>
          </p:cNvPr>
          <p:cNvSpPr/>
          <p:nvPr userDrawn="1"/>
        </p:nvSpPr>
        <p:spPr>
          <a:xfrm>
            <a:off x="-2911475" y="3311525"/>
            <a:ext cx="660400" cy="981075"/>
          </a:xfrm>
          <a:custGeom>
            <a:avLst/>
            <a:gdLst>
              <a:gd name="connsiteX0" fmla="*/ 149225 w 660400"/>
              <a:gd name="connsiteY0" fmla="*/ 0 h 981075"/>
              <a:gd name="connsiteX1" fmla="*/ 0 w 660400"/>
              <a:gd name="connsiteY1" fmla="*/ 0 h 981075"/>
              <a:gd name="connsiteX2" fmla="*/ 0 w 660400"/>
              <a:gd name="connsiteY2" fmla="*/ 981075 h 981075"/>
              <a:gd name="connsiteX3" fmla="*/ 660400 w 660400"/>
              <a:gd name="connsiteY3" fmla="*/ 981075 h 981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0400" h="981075">
                <a:moveTo>
                  <a:pt x="149225" y="0"/>
                </a:moveTo>
                <a:lnTo>
                  <a:pt x="0" y="0"/>
                </a:lnTo>
                <a:lnTo>
                  <a:pt x="0" y="981075"/>
                </a:lnTo>
                <a:lnTo>
                  <a:pt x="660400" y="981075"/>
                </a:lnTo>
              </a:path>
            </a:pathLst>
          </a:custGeom>
          <a:noFill/>
          <a:ln>
            <a:solidFill>
              <a:schemeClr val="bg2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69935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4110">
          <p15:clr>
            <a:srgbClr val="FBAE40"/>
          </p15:clr>
        </p15:guide>
        <p15:guide id="5" orient="horz" pos="365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ted start/end slide with tag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_Animation_PPT_BBtW_Forward 07">
            <a:hlinkClick r:id="" action="ppaction://media"/>
            <a:extLst>
              <a:ext uri="{FF2B5EF4-FFF2-40B4-BE49-F238E27FC236}">
                <a16:creationId xmlns:a16="http://schemas.microsoft.com/office/drawing/2014/main" id="{8A8CC5E6-FC32-4D3F-B1C2-F7180AC9163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7805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4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ted start/end slide with brand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objekt 1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56188" y="2061893"/>
            <a:ext cx="6972872" cy="2903039"/>
          </a:xfrm>
          <a:prstGeom prst="rect">
            <a:avLst/>
          </a:prstGeom>
        </p:spPr>
      </p:pic>
      <p:pic>
        <p:nvPicPr>
          <p:cNvPr id="4" name="Picture 12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397" y="6124936"/>
            <a:ext cx="725781" cy="383453"/>
          </a:xfrm>
          <a:prstGeom prst="rect">
            <a:avLst/>
          </a:prstGeom>
        </p:spPr>
      </p:pic>
      <p:pic>
        <p:nvPicPr>
          <p:cNvPr id="6" name="Picture 14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97365" y="6182592"/>
            <a:ext cx="725781" cy="268141"/>
          </a:xfrm>
          <a:prstGeom prst="rect">
            <a:avLst/>
          </a:prstGeom>
        </p:spPr>
      </p:pic>
      <p:pic>
        <p:nvPicPr>
          <p:cNvPr id="7" name="Picture 15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96129" y="6058641"/>
            <a:ext cx="834408" cy="499516"/>
          </a:xfrm>
          <a:prstGeom prst="rect">
            <a:avLst/>
          </a:prstGeom>
        </p:spPr>
      </p:pic>
      <p:pic>
        <p:nvPicPr>
          <p:cNvPr id="10" name="Picture 17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36764" y="6089434"/>
            <a:ext cx="571482" cy="468838"/>
          </a:xfrm>
          <a:prstGeom prst="rect">
            <a:avLst/>
          </a:prstGeom>
        </p:spPr>
      </p:pic>
      <p:pic>
        <p:nvPicPr>
          <p:cNvPr id="12" name="Picture 19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87015" y="6089545"/>
            <a:ext cx="653137" cy="468615"/>
          </a:xfrm>
          <a:prstGeom prst="rect">
            <a:avLst/>
          </a:prstGeom>
        </p:spPr>
      </p:pic>
      <p:pic>
        <p:nvPicPr>
          <p:cNvPr id="13" name="Bildobjekt 12" descr="En bild som visar clipart&#10;&#10;Beskrivning genererad med mycket hög exakthet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0971" y="6117187"/>
            <a:ext cx="765118" cy="41333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2DA9826-B916-409E-8C9B-065996A194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31690" y="6152874"/>
            <a:ext cx="1280160" cy="35551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D2F08CE-3ADA-4B16-A581-96B463789DE0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5532" y="6152874"/>
            <a:ext cx="938151" cy="361203"/>
          </a:xfrm>
          <a:prstGeom prst="rect">
            <a:avLst/>
          </a:prstGeom>
        </p:spPr>
      </p:pic>
      <p:pic>
        <p:nvPicPr>
          <p:cNvPr id="16" name="Bildobjekt 15" descr="En bild som visar utomhus, tecken, stopp&#10;&#10;Automatiskt genererad beskrivning">
            <a:extLst>
              <a:ext uri="{FF2B5EF4-FFF2-40B4-BE49-F238E27FC236}">
                <a16:creationId xmlns:a16="http://schemas.microsoft.com/office/drawing/2014/main" id="{169B3B4F-08D2-4852-8B61-2AC83BA793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55836" y="6040424"/>
            <a:ext cx="653137" cy="566856"/>
          </a:xfrm>
          <a:prstGeom prst="rect">
            <a:avLst/>
          </a:prstGeom>
        </p:spPr>
      </p:pic>
      <p:pic>
        <p:nvPicPr>
          <p:cNvPr id="18" name="Bildobjekt 17" descr="En bild som visar clipart&#10;&#10;Automatiskt genererad beskrivning">
            <a:extLst>
              <a:ext uri="{FF2B5EF4-FFF2-40B4-BE49-F238E27FC236}">
                <a16:creationId xmlns:a16="http://schemas.microsoft.com/office/drawing/2014/main" id="{743C70C9-5A14-453D-9332-03A4D2804252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4860" y="6117187"/>
            <a:ext cx="933148" cy="396890"/>
          </a:xfrm>
          <a:prstGeom prst="rect">
            <a:avLst/>
          </a:prstGeom>
        </p:spPr>
      </p:pic>
      <p:pic>
        <p:nvPicPr>
          <p:cNvPr id="5" name="Bildobjekt 4" descr="En bild som visar text, ritning&#10;&#10;Automatiskt genererad beskrivning">
            <a:extLst>
              <a:ext uri="{FF2B5EF4-FFF2-40B4-BE49-F238E27FC236}">
                <a16:creationId xmlns:a16="http://schemas.microsoft.com/office/drawing/2014/main" id="{B081FDE4-FDFB-4C2C-97DA-614DC518D9F6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3968" y="6094356"/>
            <a:ext cx="745139" cy="468614"/>
          </a:xfrm>
          <a:prstGeom prst="rect">
            <a:avLst/>
          </a:prstGeom>
        </p:spPr>
      </p:pic>
      <p:pic>
        <p:nvPicPr>
          <p:cNvPr id="9" name="Bildobjekt 8" descr="En bild som visar ritning, tecken&#10;&#10;Automatiskt genererad beskrivning">
            <a:extLst>
              <a:ext uri="{FF2B5EF4-FFF2-40B4-BE49-F238E27FC236}">
                <a16:creationId xmlns:a16="http://schemas.microsoft.com/office/drawing/2014/main" id="{6A38E512-4D8C-4AE1-854D-2D6D1166C330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1252" y="6053202"/>
            <a:ext cx="653137" cy="519244"/>
          </a:xfrm>
          <a:prstGeom prst="rect">
            <a:avLst/>
          </a:prstGeom>
        </p:spPr>
      </p:pic>
      <p:pic>
        <p:nvPicPr>
          <p:cNvPr id="2" name="Logo_Animation_PPT_ProductBrands_Forward 07">
            <a:hlinkClick r:id="" action="ppaction://media"/>
            <a:extLst>
              <a:ext uri="{FF2B5EF4-FFF2-40B4-BE49-F238E27FC236}">
                <a16:creationId xmlns:a16="http://schemas.microsoft.com/office/drawing/2014/main" id="{58D8CBB2-2582-436E-A146-0CD20C033504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25821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7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/divider slide image vertica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>
            <a:extLst>
              <a:ext uri="{FF2B5EF4-FFF2-40B4-BE49-F238E27FC236}">
                <a16:creationId xmlns:a16="http://schemas.microsoft.com/office/drawing/2014/main" id="{9AB3C04D-8B9B-4CE5-98C7-26747310334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924" y="6157836"/>
            <a:ext cx="1603375" cy="408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60FF3EF-06C0-4A60-BA4E-650B6EB7FE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2565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60FF3EF-06C0-4A60-BA4E-650B6EB7FE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latshållare för bild 12">
            <a:extLst>
              <a:ext uri="{FF2B5EF4-FFF2-40B4-BE49-F238E27FC236}">
                <a16:creationId xmlns:a16="http://schemas.microsoft.com/office/drawing/2014/main" id="{2ACEDDB4-C373-424D-BB85-46D939EDDEB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223366" y="0"/>
            <a:ext cx="6968635" cy="6858000"/>
          </a:xfrm>
          <a:custGeom>
            <a:avLst/>
            <a:gdLst>
              <a:gd name="connsiteX0" fmla="*/ 3514298 w 6968635"/>
              <a:gd name="connsiteY0" fmla="*/ 0 h 6858000"/>
              <a:gd name="connsiteX1" fmla="*/ 6968635 w 6968635"/>
              <a:gd name="connsiteY1" fmla="*/ 0 h 6858000"/>
              <a:gd name="connsiteX2" fmla="*/ 6968635 w 6968635"/>
              <a:gd name="connsiteY2" fmla="*/ 6858000 h 6858000"/>
              <a:gd name="connsiteX3" fmla="*/ 0 w 696863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68635" h="6858000">
                <a:moveTo>
                  <a:pt x="3514298" y="0"/>
                </a:moveTo>
                <a:lnTo>
                  <a:pt x="6968635" y="0"/>
                </a:lnTo>
                <a:lnTo>
                  <a:pt x="6968635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45BB00EC-CB5D-419C-90D2-89CA5BF4101E}"/>
              </a:ext>
            </a:extLst>
          </p:cNvPr>
          <p:cNvSpPr/>
          <p:nvPr userDrawn="1"/>
        </p:nvSpPr>
        <p:spPr>
          <a:xfrm>
            <a:off x="-2829522" y="382055"/>
            <a:ext cx="2512620" cy="168804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en-US" noProof="0">
                <a:solidFill>
                  <a:schemeClr val="tx2"/>
                </a:solidFill>
              </a:rPr>
              <a:t>Add image by clicking on the image icon.</a:t>
            </a:r>
          </a:p>
        </p:txBody>
      </p:sp>
      <p:sp>
        <p:nvSpPr>
          <p:cNvPr id="10" name="Rubrik 1">
            <a:extLst>
              <a:ext uri="{FF2B5EF4-FFF2-40B4-BE49-F238E27FC236}">
                <a16:creationId xmlns:a16="http://schemas.microsoft.com/office/drawing/2014/main" id="{54380E46-FAA8-4E41-BC0D-8E23777E08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4292" y="1827344"/>
            <a:ext cx="5548508" cy="866523"/>
          </a:xfrm>
        </p:spPr>
        <p:txBody>
          <a:bodyPr vert="horz" anchor="b">
            <a:noAutofit/>
          </a:bodyPr>
          <a:lstStyle>
            <a:lvl1pPr algn="l" rtl="0">
              <a:defRPr sz="40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Underrubrik 2">
            <a:extLst>
              <a:ext uri="{FF2B5EF4-FFF2-40B4-BE49-F238E27FC236}">
                <a16:creationId xmlns:a16="http://schemas.microsoft.com/office/drawing/2014/main" id="{29ABDFF6-7C6E-4FC0-940A-9AC03E4B9D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4292" y="2766553"/>
            <a:ext cx="5548508" cy="866523"/>
          </a:xfrm>
        </p:spPr>
        <p:txBody>
          <a:bodyPr/>
          <a:lstStyle>
            <a:lvl1pPr marL="0" indent="0" algn="l" rtl="0">
              <a:buNone/>
              <a:defRPr sz="4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12" name="Platshållare för text 4">
            <a:extLst>
              <a:ext uri="{FF2B5EF4-FFF2-40B4-BE49-F238E27FC236}">
                <a16:creationId xmlns:a16="http://schemas.microsoft.com/office/drawing/2014/main" id="{70630A12-5A31-4092-8F4C-CFE98601B6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4292" y="3705762"/>
            <a:ext cx="5548508" cy="715962"/>
          </a:xfrm>
        </p:spPr>
        <p:txBody>
          <a:bodyPr/>
          <a:lstStyle>
            <a:lvl1pPr marL="0" indent="0" rtl="0">
              <a:buNone/>
              <a:defRPr sz="2600">
                <a:solidFill>
                  <a:schemeClr val="tx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 noProof="0"/>
              <a:t>Name surname</a:t>
            </a:r>
          </a:p>
        </p:txBody>
      </p:sp>
    </p:spTree>
    <p:extLst>
      <p:ext uri="{BB962C8B-B14F-4D97-AF65-F5344CB8AC3E}">
        <p14:creationId xmlns:p14="http://schemas.microsoft.com/office/powerpoint/2010/main" val="31155637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4110">
          <p15:clr>
            <a:srgbClr val="FBAE40"/>
          </p15:clr>
        </p15:guide>
        <p15:guide id="5" orient="horz" pos="365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/divider slide image vertical blue/magent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C0C76F4-5594-4AC7-A823-7DCE5033E4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6123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C0C76F4-5594-4AC7-A823-7DCE5033E4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" descr="Logtype_white.png">
            <a:extLst>
              <a:ext uri="{FF2B5EF4-FFF2-40B4-BE49-F238E27FC236}">
                <a16:creationId xmlns:a16="http://schemas.microsoft.com/office/drawing/2014/main" id="{B01A205B-A855-40D8-A7C2-AC6F4A11150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100" y="6163960"/>
            <a:ext cx="1606334" cy="401939"/>
          </a:xfrm>
          <a:prstGeom prst="rect">
            <a:avLst/>
          </a:prstGeom>
        </p:spPr>
      </p:pic>
      <p:sp>
        <p:nvSpPr>
          <p:cNvPr id="13" name="Platshållare för bild 12">
            <a:extLst>
              <a:ext uri="{FF2B5EF4-FFF2-40B4-BE49-F238E27FC236}">
                <a16:creationId xmlns:a16="http://schemas.microsoft.com/office/drawing/2014/main" id="{2ACEDDB4-C373-424D-BB85-46D939EDDEB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223366" y="0"/>
            <a:ext cx="6968635" cy="6858000"/>
          </a:xfrm>
          <a:custGeom>
            <a:avLst/>
            <a:gdLst>
              <a:gd name="connsiteX0" fmla="*/ 3514298 w 6968635"/>
              <a:gd name="connsiteY0" fmla="*/ 0 h 6858000"/>
              <a:gd name="connsiteX1" fmla="*/ 6968635 w 6968635"/>
              <a:gd name="connsiteY1" fmla="*/ 0 h 6858000"/>
              <a:gd name="connsiteX2" fmla="*/ 6968635 w 6968635"/>
              <a:gd name="connsiteY2" fmla="*/ 6858000 h 6858000"/>
              <a:gd name="connsiteX3" fmla="*/ 0 w 696863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68635" h="6858000">
                <a:moveTo>
                  <a:pt x="3514298" y="0"/>
                </a:moveTo>
                <a:lnTo>
                  <a:pt x="6968635" y="0"/>
                </a:lnTo>
                <a:lnTo>
                  <a:pt x="6968635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 rtl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344292" y="1827344"/>
            <a:ext cx="5548508" cy="866523"/>
          </a:xfrm>
        </p:spPr>
        <p:txBody>
          <a:bodyPr vert="horz" anchor="b">
            <a:noAutofit/>
          </a:bodyPr>
          <a:lstStyle>
            <a:lvl1pPr algn="l" rtl="0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344292" y="2766553"/>
            <a:ext cx="5548508" cy="866523"/>
          </a:xfrm>
        </p:spPr>
        <p:txBody>
          <a:bodyPr/>
          <a:lstStyle>
            <a:lvl1pPr marL="0" indent="0" algn="l" rtl="0"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785A570D-D777-49F9-9D61-D94D164598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4292" y="3705762"/>
            <a:ext cx="5548508" cy="715962"/>
          </a:xfrm>
        </p:spPr>
        <p:txBody>
          <a:bodyPr/>
          <a:lstStyle>
            <a:lvl1pPr marL="0" indent="0" rtl="0">
              <a:buNone/>
              <a:defRPr sz="2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 noProof="0"/>
              <a:t>Name surname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607C9085-29BB-4481-AF28-02B6ABF89429}"/>
              </a:ext>
            </a:extLst>
          </p:cNvPr>
          <p:cNvSpPr/>
          <p:nvPr userDrawn="1"/>
        </p:nvSpPr>
        <p:spPr>
          <a:xfrm>
            <a:off x="-2829522" y="382054"/>
            <a:ext cx="2512620" cy="53469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>
                <a:solidFill>
                  <a:schemeClr val="tx2"/>
                </a:solidFill>
              </a:rPr>
              <a:t>Add image by clicking on the image icon or leave background dark blue or magenta. </a:t>
            </a:r>
          </a:p>
          <a:p>
            <a:pPr algn="l" rtl="0"/>
            <a:endParaRPr lang="en-US" noProof="0">
              <a:solidFill>
                <a:schemeClr val="tx2"/>
              </a:solidFill>
            </a:endParaRPr>
          </a:p>
          <a:p>
            <a:pPr algn="l" rtl="0"/>
            <a:r>
              <a:rPr lang="en-US" noProof="0">
                <a:solidFill>
                  <a:schemeClr val="tx2"/>
                </a:solidFill>
              </a:rPr>
              <a:t>To change background color go to “Design”, Format Background and choose either </a:t>
            </a:r>
            <a:r>
              <a:rPr lang="en-US" b="1" noProof="0">
                <a:solidFill>
                  <a:schemeClr val="tx2"/>
                </a:solidFill>
              </a:rPr>
              <a:t>Essity Dark Blue or Magenta</a:t>
            </a:r>
            <a:r>
              <a:rPr lang="en-US" noProof="0">
                <a:solidFill>
                  <a:schemeClr val="tx2"/>
                </a:solidFill>
              </a:rPr>
              <a:t>. Do not use </a:t>
            </a:r>
            <a:r>
              <a:rPr lang="en-US" u="sng" noProof="0">
                <a:solidFill>
                  <a:schemeClr val="tx2"/>
                </a:solidFill>
              </a:rPr>
              <a:t>light blue, green or orange </a:t>
            </a:r>
          </a:p>
        </p:txBody>
      </p:sp>
      <p:sp>
        <p:nvSpPr>
          <p:cNvPr id="12" name="Rektangel: rundade hörn 11">
            <a:extLst>
              <a:ext uri="{FF2B5EF4-FFF2-40B4-BE49-F238E27FC236}">
                <a16:creationId xmlns:a16="http://schemas.microsoft.com/office/drawing/2014/main" id="{4B81BD7A-01D2-42AE-9EF9-51CD83FB3530}"/>
              </a:ext>
            </a:extLst>
          </p:cNvPr>
          <p:cNvSpPr/>
          <p:nvPr userDrawn="1"/>
        </p:nvSpPr>
        <p:spPr>
          <a:xfrm>
            <a:off x="-2242087" y="5072890"/>
            <a:ext cx="442913" cy="233363"/>
          </a:xfrm>
          <a:prstGeom prst="roundRect">
            <a:avLst/>
          </a:prstGeom>
          <a:noFill/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14" name="Rektangel: rundade hörn 13">
            <a:extLst>
              <a:ext uri="{FF2B5EF4-FFF2-40B4-BE49-F238E27FC236}">
                <a16:creationId xmlns:a16="http://schemas.microsoft.com/office/drawing/2014/main" id="{946D4F39-410B-4C25-9BE2-0E6517F5E828}"/>
              </a:ext>
            </a:extLst>
          </p:cNvPr>
          <p:cNvSpPr/>
          <p:nvPr userDrawn="1"/>
        </p:nvSpPr>
        <p:spPr>
          <a:xfrm>
            <a:off x="-1426052" y="5072890"/>
            <a:ext cx="442913" cy="233363"/>
          </a:xfrm>
          <a:prstGeom prst="roundRect">
            <a:avLst/>
          </a:prstGeom>
          <a:noFill/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>
              <a:solidFill>
                <a:schemeClr val="tx2"/>
              </a:solidFill>
            </a:endParaRPr>
          </a:p>
        </p:txBody>
      </p:sp>
      <p:pic>
        <p:nvPicPr>
          <p:cNvPr id="15" name="Bildobjekt 14">
            <a:extLst>
              <a:ext uri="{FF2B5EF4-FFF2-40B4-BE49-F238E27FC236}">
                <a16:creationId xmlns:a16="http://schemas.microsoft.com/office/drawing/2014/main" id="{61FED4A4-4E92-4935-ACF1-C4A3B65FEE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668489" y="4170784"/>
            <a:ext cx="2190554" cy="1371679"/>
          </a:xfrm>
          <a:prstGeom prst="rect">
            <a:avLst/>
          </a:prstGeom>
        </p:spPr>
      </p:pic>
      <p:sp>
        <p:nvSpPr>
          <p:cNvPr id="16" name="Rektangel: rundade hörn 15">
            <a:extLst>
              <a:ext uri="{FF2B5EF4-FFF2-40B4-BE49-F238E27FC236}">
                <a16:creationId xmlns:a16="http://schemas.microsoft.com/office/drawing/2014/main" id="{F3982B9A-FFBD-48DE-B8A8-6BA2C0D33EB3}"/>
              </a:ext>
            </a:extLst>
          </p:cNvPr>
          <p:cNvSpPr/>
          <p:nvPr userDrawn="1"/>
        </p:nvSpPr>
        <p:spPr>
          <a:xfrm>
            <a:off x="-2242087" y="4186659"/>
            <a:ext cx="442913" cy="233363"/>
          </a:xfrm>
          <a:prstGeom prst="round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17" name="Rektangel: rundade hörn 16">
            <a:extLst>
              <a:ext uri="{FF2B5EF4-FFF2-40B4-BE49-F238E27FC236}">
                <a16:creationId xmlns:a16="http://schemas.microsoft.com/office/drawing/2014/main" id="{503D0984-96E8-4E38-B79B-82B292778073}"/>
              </a:ext>
            </a:extLst>
          </p:cNvPr>
          <p:cNvSpPr/>
          <p:nvPr userDrawn="1"/>
        </p:nvSpPr>
        <p:spPr>
          <a:xfrm>
            <a:off x="-1131744" y="4186659"/>
            <a:ext cx="653809" cy="233363"/>
          </a:xfrm>
          <a:prstGeom prst="round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>
              <a:solidFill>
                <a:schemeClr val="tx2"/>
              </a:solidFill>
            </a:endParaRPr>
          </a:p>
        </p:txBody>
      </p:sp>
      <p:cxnSp>
        <p:nvCxnSpPr>
          <p:cNvPr id="18" name="Rak pilkoppling 17">
            <a:extLst>
              <a:ext uri="{FF2B5EF4-FFF2-40B4-BE49-F238E27FC236}">
                <a16:creationId xmlns:a16="http://schemas.microsoft.com/office/drawing/2014/main" id="{E98CF2C6-E444-4333-A055-AD9642D32186}"/>
              </a:ext>
            </a:extLst>
          </p:cNvPr>
          <p:cNvCxnSpPr>
            <a:cxnSpLocks/>
            <a:endCxn id="17" idx="0"/>
          </p:cNvCxnSpPr>
          <p:nvPr userDrawn="1"/>
        </p:nvCxnSpPr>
        <p:spPr>
          <a:xfrm>
            <a:off x="-1092200" y="3727450"/>
            <a:ext cx="287361" cy="45920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rihandsfigur: Form 20">
            <a:extLst>
              <a:ext uri="{FF2B5EF4-FFF2-40B4-BE49-F238E27FC236}">
                <a16:creationId xmlns:a16="http://schemas.microsoft.com/office/drawing/2014/main" id="{C3E80071-8D00-44D2-8507-AEA8DC291F13}"/>
              </a:ext>
            </a:extLst>
          </p:cNvPr>
          <p:cNvSpPr/>
          <p:nvPr userDrawn="1"/>
        </p:nvSpPr>
        <p:spPr>
          <a:xfrm>
            <a:off x="-2911475" y="3311525"/>
            <a:ext cx="660400" cy="981075"/>
          </a:xfrm>
          <a:custGeom>
            <a:avLst/>
            <a:gdLst>
              <a:gd name="connsiteX0" fmla="*/ 149225 w 660400"/>
              <a:gd name="connsiteY0" fmla="*/ 0 h 981075"/>
              <a:gd name="connsiteX1" fmla="*/ 0 w 660400"/>
              <a:gd name="connsiteY1" fmla="*/ 0 h 981075"/>
              <a:gd name="connsiteX2" fmla="*/ 0 w 660400"/>
              <a:gd name="connsiteY2" fmla="*/ 981075 h 981075"/>
              <a:gd name="connsiteX3" fmla="*/ 660400 w 660400"/>
              <a:gd name="connsiteY3" fmla="*/ 981075 h 981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0400" h="981075">
                <a:moveTo>
                  <a:pt x="149225" y="0"/>
                </a:moveTo>
                <a:lnTo>
                  <a:pt x="0" y="0"/>
                </a:lnTo>
                <a:lnTo>
                  <a:pt x="0" y="981075"/>
                </a:lnTo>
                <a:lnTo>
                  <a:pt x="660400" y="981075"/>
                </a:lnTo>
              </a:path>
            </a:pathLst>
          </a:custGeom>
          <a:noFill/>
          <a:ln>
            <a:solidFill>
              <a:schemeClr val="bg2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10094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4110">
          <p15:clr>
            <a:srgbClr val="FBAE40"/>
          </p15:clr>
        </p15:guide>
        <p15:guide id="5" orient="horz" pos="365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FE8ACA2-8BFA-403A-8522-BC115F1C2C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2811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FE8ACA2-8BFA-403A-8522-BC115F1C2C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334963" y="1773238"/>
            <a:ext cx="11522075" cy="4543420"/>
          </a:xfrm>
        </p:spPr>
        <p:txBody>
          <a:bodyPr vert="horz" lIns="0" tIns="0" rIns="0" bIns="0" rtlCol="0">
            <a:noAutofit/>
          </a:bodyPr>
          <a:lstStyle>
            <a:lvl1pPr rtl="0">
              <a:defRPr lang="sv-SE" dirty="0"/>
            </a:lvl1pPr>
            <a:lvl2pPr rtl="0">
              <a:defRPr lang="sv-SE" dirty="0"/>
            </a:lvl2pPr>
            <a:lvl3pPr rtl="0">
              <a:defRPr lang="sv-SE" dirty="0"/>
            </a:lvl3pPr>
            <a:lvl4pPr rtl="0">
              <a:defRPr lang="sv-SE" dirty="0"/>
            </a:lvl4pPr>
            <a:lvl5pPr rtl="0">
              <a:defRPr lang="en-GB" dirty="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Level two</a:t>
            </a:r>
          </a:p>
          <a:p>
            <a:pPr lvl="2"/>
            <a:r>
              <a:rPr lang="en-US" noProof="0"/>
              <a:t>Level three</a:t>
            </a:r>
          </a:p>
          <a:p>
            <a:pPr lvl="3"/>
            <a:r>
              <a:rPr lang="en-US" noProof="0"/>
              <a:t>Level four</a:t>
            </a:r>
          </a:p>
          <a:p>
            <a:pPr lvl="4"/>
            <a:r>
              <a:rPr lang="en-US" noProof="0"/>
              <a:t>Level five</a:t>
            </a:r>
          </a:p>
        </p:txBody>
      </p:sp>
      <p:cxnSp>
        <p:nvCxnSpPr>
          <p:cNvPr id="16" name="Rak koppling 15"/>
          <p:cNvCxnSpPr>
            <a:cxnSpLocks/>
          </p:cNvCxnSpPr>
          <p:nvPr userDrawn="1"/>
        </p:nvCxnSpPr>
        <p:spPr>
          <a:xfrm rot="5400000">
            <a:off x="-287337" y="6186446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ak koppling 16"/>
          <p:cNvCxnSpPr/>
          <p:nvPr userDrawn="1"/>
        </p:nvCxnSpPr>
        <p:spPr>
          <a:xfrm>
            <a:off x="334963" y="6946900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latshållare för text 7">
            <a:extLst>
              <a:ext uri="{FF2B5EF4-FFF2-40B4-BE49-F238E27FC236}">
                <a16:creationId xmlns:a16="http://schemas.microsoft.com/office/drawing/2014/main" id="{EF1A0C09-C937-406D-A5FD-1068E66CDA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53" y="1033845"/>
            <a:ext cx="11522075" cy="463095"/>
          </a:xfrm>
        </p:spPr>
        <p:txBody>
          <a:bodyPr>
            <a:noAutofit/>
          </a:bodyPr>
          <a:lstStyle>
            <a:lvl1pPr marL="0" indent="0" algn="l" rtl="0">
              <a:buNone/>
              <a:defRPr sz="3200"/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Rubrik 1">
            <a:extLst>
              <a:ext uri="{FF2B5EF4-FFF2-40B4-BE49-F238E27FC236}">
                <a16:creationId xmlns:a16="http://schemas.microsoft.com/office/drawing/2014/main" id="{930E6AE7-CDA5-48A3-8CCE-8AB12C60C6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115888"/>
            <a:ext cx="11522075" cy="927482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US" noProof="0"/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11" name="Platshållare för sidfot 4">
            <a:extLst>
              <a:ext uri="{FF2B5EF4-FFF2-40B4-BE49-F238E27FC236}">
                <a16:creationId xmlns:a16="http://schemas.microsoft.com/office/drawing/2014/main" id="{37F38F04-93FC-4F46-9BF2-EFE1DCD5F2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10723" y="6373848"/>
            <a:ext cx="517757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Platshållare för bildnummer 5">
            <a:extLst>
              <a:ext uri="{FF2B5EF4-FFF2-40B4-BE49-F238E27FC236}">
                <a16:creationId xmlns:a16="http://schemas.microsoft.com/office/drawing/2014/main" id="{330A8CA8-44DD-4EE6-A06D-BE2F9DDF01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3039" y="6373848"/>
            <a:ext cx="24765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Platshållare för datum 3">
            <a:extLst>
              <a:ext uri="{FF2B5EF4-FFF2-40B4-BE49-F238E27FC236}">
                <a16:creationId xmlns:a16="http://schemas.microsoft.com/office/drawing/2014/main" id="{EA92CAA4-3082-43D7-AF4A-B67BEA5CBC0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19615" y="6373848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5474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1 imag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3B33E66-0CAD-4C05-BC36-DFA00BB598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7149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3B33E66-0CAD-4C05-BC36-DFA00BB598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334953" y="1033845"/>
            <a:ext cx="5543323" cy="463095"/>
          </a:xfrm>
        </p:spPr>
        <p:txBody>
          <a:bodyPr>
            <a:noAutofit/>
          </a:bodyPr>
          <a:lstStyle>
            <a:lvl1pPr marL="0" indent="0" algn="l" rtl="0">
              <a:buNone/>
              <a:defRPr sz="3200"/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334963" y="115888"/>
            <a:ext cx="5543323" cy="927482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US" noProof="0"/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334963" y="1773237"/>
            <a:ext cx="5543323" cy="4543426"/>
          </a:xfrm>
        </p:spPr>
        <p:txBody>
          <a:bodyPr vert="horz" lIns="0" tIns="0" rIns="0" bIns="0" rtlCol="0">
            <a:noAutofit/>
          </a:bodyPr>
          <a:lstStyle>
            <a:lvl1pPr rtl="0">
              <a:defRPr lang="sv-SE" dirty="0"/>
            </a:lvl1pPr>
            <a:lvl2pPr rtl="0">
              <a:defRPr lang="sv-SE" dirty="0"/>
            </a:lvl2pPr>
            <a:lvl3pPr rtl="0">
              <a:defRPr lang="sv-SE" dirty="0"/>
            </a:lvl3pPr>
            <a:lvl4pPr rtl="0">
              <a:defRPr lang="sv-SE" dirty="0"/>
            </a:lvl4pPr>
            <a:lvl5pPr rtl="0">
              <a:defRPr lang="en-GB" dirty="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Level two</a:t>
            </a:r>
          </a:p>
          <a:p>
            <a:pPr lvl="2"/>
            <a:r>
              <a:rPr lang="en-US" noProof="0"/>
              <a:t>Level three</a:t>
            </a:r>
          </a:p>
          <a:p>
            <a:pPr lvl="3"/>
            <a:r>
              <a:rPr lang="en-US" noProof="0"/>
              <a:t>Level four</a:t>
            </a:r>
          </a:p>
          <a:p>
            <a:pPr lvl="4"/>
            <a:r>
              <a:rPr lang="en-US" noProof="0"/>
              <a:t>Level five</a:t>
            </a:r>
          </a:p>
        </p:txBody>
      </p:sp>
      <p:cxnSp>
        <p:nvCxnSpPr>
          <p:cNvPr id="16" name="Rak koppling 15"/>
          <p:cNvCxnSpPr>
            <a:cxnSpLocks/>
          </p:cNvCxnSpPr>
          <p:nvPr userDrawn="1"/>
        </p:nvCxnSpPr>
        <p:spPr>
          <a:xfrm rot="5400000">
            <a:off x="-287337" y="6186446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ak koppling 16"/>
          <p:cNvCxnSpPr/>
          <p:nvPr userDrawn="1"/>
        </p:nvCxnSpPr>
        <p:spPr>
          <a:xfrm>
            <a:off x="334963" y="6946900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C79F9EB4-36B0-4B9E-BDA9-C81D72A3A4A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5999" y="0"/>
            <a:ext cx="6095999" cy="685800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latshållare för sidfot 4">
            <a:extLst>
              <a:ext uri="{FF2B5EF4-FFF2-40B4-BE49-F238E27FC236}">
                <a16:creationId xmlns:a16="http://schemas.microsoft.com/office/drawing/2014/main" id="{1E36A1A7-F89A-458B-B597-6F81CC904E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10723" y="6373848"/>
            <a:ext cx="436755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17285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1 image (Blue/Magenta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B03E7C3-AC25-4C6D-B486-68B3A5D713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1951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B03E7C3-AC25-4C6D-B486-68B3A5D713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5" descr="Logtype_white.png">
            <a:extLst>
              <a:ext uri="{FF2B5EF4-FFF2-40B4-BE49-F238E27FC236}">
                <a16:creationId xmlns:a16="http://schemas.microsoft.com/office/drawing/2014/main" id="{89B68273-E671-4693-80C4-B23CEFCA8E6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962" y="6427365"/>
            <a:ext cx="931863" cy="233172"/>
          </a:xfrm>
          <a:prstGeom prst="rect">
            <a:avLst/>
          </a:prstGeom>
        </p:spPr>
      </p:pic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334963" y="1773238"/>
            <a:ext cx="5543323" cy="4206442"/>
          </a:xfrm>
        </p:spPr>
        <p:txBody>
          <a:bodyPr vert="horz" lIns="0" tIns="0" rIns="0" bIns="0" rtlCol="0">
            <a:noAutofit/>
          </a:bodyPr>
          <a:lstStyle>
            <a:lvl1pPr rtl="0">
              <a:defRPr lang="sv-SE" dirty="0">
                <a:solidFill>
                  <a:schemeClr val="bg1"/>
                </a:solidFill>
              </a:defRPr>
            </a:lvl1pPr>
            <a:lvl2pPr rtl="0">
              <a:defRPr lang="sv-SE" dirty="0">
                <a:solidFill>
                  <a:schemeClr val="bg1"/>
                </a:solidFill>
              </a:defRPr>
            </a:lvl2pPr>
            <a:lvl3pPr rtl="0">
              <a:defRPr lang="sv-SE" dirty="0">
                <a:solidFill>
                  <a:schemeClr val="bg1"/>
                </a:solidFill>
              </a:defRPr>
            </a:lvl3pPr>
            <a:lvl4pPr rtl="0">
              <a:defRPr lang="sv-SE" dirty="0">
                <a:solidFill>
                  <a:schemeClr val="bg1"/>
                </a:solidFill>
              </a:defRPr>
            </a:lvl4pPr>
            <a:lvl5pPr rtl="0">
              <a:defRPr lang="en-GB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Level two</a:t>
            </a:r>
          </a:p>
          <a:p>
            <a:pPr lvl="2"/>
            <a:r>
              <a:rPr lang="en-US" noProof="0" dirty="0"/>
              <a:t>Level three</a:t>
            </a:r>
          </a:p>
          <a:p>
            <a:pPr lvl="3"/>
            <a:r>
              <a:rPr lang="en-US" noProof="0" dirty="0"/>
              <a:t>Level four</a:t>
            </a:r>
          </a:p>
          <a:p>
            <a:pPr lvl="4"/>
            <a:r>
              <a:rPr lang="en-US" noProof="0" dirty="0"/>
              <a:t>Level five</a:t>
            </a:r>
          </a:p>
        </p:txBody>
      </p:sp>
      <p:cxnSp>
        <p:nvCxnSpPr>
          <p:cNvPr id="16" name="Rak koppling 15"/>
          <p:cNvCxnSpPr>
            <a:cxnSpLocks/>
          </p:cNvCxnSpPr>
          <p:nvPr userDrawn="1"/>
        </p:nvCxnSpPr>
        <p:spPr>
          <a:xfrm rot="5400000">
            <a:off x="-287337" y="6186446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ak koppling 16"/>
          <p:cNvCxnSpPr/>
          <p:nvPr userDrawn="1"/>
        </p:nvCxnSpPr>
        <p:spPr>
          <a:xfrm>
            <a:off x="334963" y="6946900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C79F9EB4-36B0-4B9E-BDA9-C81D72A3A4A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5999" y="0"/>
            <a:ext cx="6095999" cy="6858000"/>
          </a:xfrm>
        </p:spPr>
        <p:txBody>
          <a:bodyPr/>
          <a:lstStyle>
            <a:lvl1pPr marL="0" indent="0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1" name="Platshållare för text 7">
            <a:extLst>
              <a:ext uri="{FF2B5EF4-FFF2-40B4-BE49-F238E27FC236}">
                <a16:creationId xmlns:a16="http://schemas.microsoft.com/office/drawing/2014/main" id="{D03B9717-B153-41BD-BCDA-2CD9FF6DA9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53" y="1033845"/>
            <a:ext cx="5543323" cy="463095"/>
          </a:xfrm>
        </p:spPr>
        <p:txBody>
          <a:bodyPr>
            <a:noAutofit/>
          </a:bodyPr>
          <a:lstStyle>
            <a:lvl1pPr marL="0" indent="0" algn="l" rtl="0">
              <a:buNone/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22" name="Rubrik 1">
            <a:extLst>
              <a:ext uri="{FF2B5EF4-FFF2-40B4-BE49-F238E27FC236}">
                <a16:creationId xmlns:a16="http://schemas.microsoft.com/office/drawing/2014/main" id="{01A9E219-9169-407F-8C83-E7973966F4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115888"/>
            <a:ext cx="5543323" cy="927482"/>
          </a:xfrm>
        </p:spPr>
        <p:txBody>
          <a:bodyPr vert="horz" lIns="0" tIns="0" rIns="0" bIns="0" rtlCol="0" anchor="t">
            <a:noAutofit/>
          </a:bodyPr>
          <a:lstStyle>
            <a:lvl1pPr rtl="0">
              <a:defRPr lang="en-US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10539D79-3A59-4E1E-AC13-0D3676E3FE0E}"/>
              </a:ext>
            </a:extLst>
          </p:cNvPr>
          <p:cNvSpPr/>
          <p:nvPr userDrawn="1"/>
        </p:nvSpPr>
        <p:spPr>
          <a:xfrm>
            <a:off x="-2829522" y="382054"/>
            <a:ext cx="2512620" cy="53469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tx2"/>
                </a:solidFill>
              </a:rPr>
              <a:t>Add image by clicking on the image icon or leave background dark blue or magenta. </a:t>
            </a:r>
          </a:p>
          <a:p>
            <a:pPr algn="l"/>
            <a:endParaRPr lang="en-US" dirty="0">
              <a:solidFill>
                <a:schemeClr val="tx2"/>
              </a:solidFill>
            </a:endParaRPr>
          </a:p>
          <a:p>
            <a:pPr algn="l"/>
            <a:r>
              <a:rPr lang="en-US" dirty="0">
                <a:solidFill>
                  <a:schemeClr val="tx2"/>
                </a:solidFill>
              </a:rPr>
              <a:t>To change background color go to “Design”, Format Background and choose either </a:t>
            </a:r>
            <a:r>
              <a:rPr lang="en-US" b="1" dirty="0">
                <a:solidFill>
                  <a:schemeClr val="tx2"/>
                </a:solidFill>
              </a:rPr>
              <a:t>Essity Dark Blue or Magenta</a:t>
            </a:r>
            <a:r>
              <a:rPr lang="en-US" dirty="0">
                <a:solidFill>
                  <a:schemeClr val="tx2"/>
                </a:solidFill>
              </a:rPr>
              <a:t>. Do not use </a:t>
            </a:r>
            <a:r>
              <a:rPr lang="en-US" u="sng" dirty="0">
                <a:solidFill>
                  <a:schemeClr val="tx2"/>
                </a:solidFill>
              </a:rPr>
              <a:t>light blue, green or orange </a:t>
            </a:r>
          </a:p>
        </p:txBody>
      </p:sp>
      <p:sp>
        <p:nvSpPr>
          <p:cNvPr id="15" name="Rektangel: rundade hörn 14">
            <a:extLst>
              <a:ext uri="{FF2B5EF4-FFF2-40B4-BE49-F238E27FC236}">
                <a16:creationId xmlns:a16="http://schemas.microsoft.com/office/drawing/2014/main" id="{8E91909A-1A93-4B90-B94C-D408610B5167}"/>
              </a:ext>
            </a:extLst>
          </p:cNvPr>
          <p:cNvSpPr/>
          <p:nvPr userDrawn="1"/>
        </p:nvSpPr>
        <p:spPr>
          <a:xfrm>
            <a:off x="-2242087" y="5072890"/>
            <a:ext cx="442913" cy="233363"/>
          </a:xfrm>
          <a:prstGeom prst="roundRect">
            <a:avLst/>
          </a:prstGeom>
          <a:noFill/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2"/>
              </a:solidFill>
            </a:endParaRPr>
          </a:p>
        </p:txBody>
      </p:sp>
      <p:sp>
        <p:nvSpPr>
          <p:cNvPr id="23" name="Rektangel: rundade hörn 22">
            <a:extLst>
              <a:ext uri="{FF2B5EF4-FFF2-40B4-BE49-F238E27FC236}">
                <a16:creationId xmlns:a16="http://schemas.microsoft.com/office/drawing/2014/main" id="{094B8E54-3D8D-48B0-A6E8-16AECED20C54}"/>
              </a:ext>
            </a:extLst>
          </p:cNvPr>
          <p:cNvSpPr/>
          <p:nvPr userDrawn="1"/>
        </p:nvSpPr>
        <p:spPr>
          <a:xfrm>
            <a:off x="-1426052" y="5072890"/>
            <a:ext cx="442913" cy="233363"/>
          </a:xfrm>
          <a:prstGeom prst="roundRect">
            <a:avLst/>
          </a:prstGeom>
          <a:noFill/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2"/>
              </a:solidFill>
            </a:endParaRPr>
          </a:p>
        </p:txBody>
      </p:sp>
      <p:pic>
        <p:nvPicPr>
          <p:cNvPr id="24" name="Bildobjekt 23">
            <a:extLst>
              <a:ext uri="{FF2B5EF4-FFF2-40B4-BE49-F238E27FC236}">
                <a16:creationId xmlns:a16="http://schemas.microsoft.com/office/drawing/2014/main" id="{94331BDD-9F4E-438A-903C-BEF3AE579B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668489" y="4170784"/>
            <a:ext cx="2190554" cy="1371679"/>
          </a:xfrm>
          <a:prstGeom prst="rect">
            <a:avLst/>
          </a:prstGeom>
        </p:spPr>
      </p:pic>
      <p:sp>
        <p:nvSpPr>
          <p:cNvPr id="25" name="Rektangel: rundade hörn 24">
            <a:extLst>
              <a:ext uri="{FF2B5EF4-FFF2-40B4-BE49-F238E27FC236}">
                <a16:creationId xmlns:a16="http://schemas.microsoft.com/office/drawing/2014/main" id="{6D896D89-DE46-4B8F-8421-FC4B783FD435}"/>
              </a:ext>
            </a:extLst>
          </p:cNvPr>
          <p:cNvSpPr/>
          <p:nvPr userDrawn="1"/>
        </p:nvSpPr>
        <p:spPr>
          <a:xfrm>
            <a:off x="-2242087" y="4186659"/>
            <a:ext cx="442913" cy="233363"/>
          </a:xfrm>
          <a:prstGeom prst="round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26" name="Rektangel: rundade hörn 25">
            <a:extLst>
              <a:ext uri="{FF2B5EF4-FFF2-40B4-BE49-F238E27FC236}">
                <a16:creationId xmlns:a16="http://schemas.microsoft.com/office/drawing/2014/main" id="{D0C504FE-2E5D-45DD-932D-EE48833E4EA6}"/>
              </a:ext>
            </a:extLst>
          </p:cNvPr>
          <p:cNvSpPr/>
          <p:nvPr userDrawn="1"/>
        </p:nvSpPr>
        <p:spPr>
          <a:xfrm>
            <a:off x="-1131744" y="4186659"/>
            <a:ext cx="653809" cy="233363"/>
          </a:xfrm>
          <a:prstGeom prst="round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>
              <a:solidFill>
                <a:schemeClr val="tx2"/>
              </a:solidFill>
            </a:endParaRPr>
          </a:p>
        </p:txBody>
      </p:sp>
      <p:cxnSp>
        <p:nvCxnSpPr>
          <p:cNvPr id="27" name="Rak pilkoppling 26">
            <a:extLst>
              <a:ext uri="{FF2B5EF4-FFF2-40B4-BE49-F238E27FC236}">
                <a16:creationId xmlns:a16="http://schemas.microsoft.com/office/drawing/2014/main" id="{12ED7F9B-9383-4E45-94DE-FF5A2B1E39AA}"/>
              </a:ext>
            </a:extLst>
          </p:cNvPr>
          <p:cNvCxnSpPr>
            <a:cxnSpLocks/>
            <a:endCxn id="26" idx="0"/>
          </p:cNvCxnSpPr>
          <p:nvPr userDrawn="1"/>
        </p:nvCxnSpPr>
        <p:spPr>
          <a:xfrm>
            <a:off x="-1092200" y="3727450"/>
            <a:ext cx="287361" cy="45920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rihandsfigur: Form 27">
            <a:extLst>
              <a:ext uri="{FF2B5EF4-FFF2-40B4-BE49-F238E27FC236}">
                <a16:creationId xmlns:a16="http://schemas.microsoft.com/office/drawing/2014/main" id="{6290B1DA-CEF1-43CC-BF79-A96F7FD9831A}"/>
              </a:ext>
            </a:extLst>
          </p:cNvPr>
          <p:cNvSpPr/>
          <p:nvPr userDrawn="1"/>
        </p:nvSpPr>
        <p:spPr>
          <a:xfrm>
            <a:off x="-2911475" y="3311525"/>
            <a:ext cx="660400" cy="981075"/>
          </a:xfrm>
          <a:custGeom>
            <a:avLst/>
            <a:gdLst>
              <a:gd name="connsiteX0" fmla="*/ 149225 w 660400"/>
              <a:gd name="connsiteY0" fmla="*/ 0 h 981075"/>
              <a:gd name="connsiteX1" fmla="*/ 0 w 660400"/>
              <a:gd name="connsiteY1" fmla="*/ 0 h 981075"/>
              <a:gd name="connsiteX2" fmla="*/ 0 w 660400"/>
              <a:gd name="connsiteY2" fmla="*/ 981075 h 981075"/>
              <a:gd name="connsiteX3" fmla="*/ 660400 w 660400"/>
              <a:gd name="connsiteY3" fmla="*/ 981075 h 981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0400" h="981075">
                <a:moveTo>
                  <a:pt x="149225" y="0"/>
                </a:moveTo>
                <a:lnTo>
                  <a:pt x="0" y="0"/>
                </a:lnTo>
                <a:lnTo>
                  <a:pt x="0" y="981075"/>
                </a:lnTo>
                <a:lnTo>
                  <a:pt x="660400" y="981075"/>
                </a:lnTo>
              </a:path>
            </a:pathLst>
          </a:custGeom>
          <a:noFill/>
          <a:ln>
            <a:solidFill>
              <a:schemeClr val="bg2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23912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BA51902-6634-43B8-B4FD-77569238BA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2249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BA51902-6634-43B8-B4FD-77569238BA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tshållare för bild 6"/>
          <p:cNvSpPr>
            <a:spLocks noGrp="1"/>
          </p:cNvSpPr>
          <p:nvPr>
            <p:ph type="pic" sz="quarter" idx="13" hasCustomPrompt="1"/>
          </p:nvPr>
        </p:nvSpPr>
        <p:spPr>
          <a:xfrm>
            <a:off x="6108700" y="3240086"/>
            <a:ext cx="6083300" cy="3084514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1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334963" y="1773238"/>
            <a:ext cx="5618163" cy="45513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Level two</a:t>
            </a:r>
          </a:p>
          <a:p>
            <a:pPr lvl="2"/>
            <a:r>
              <a:rPr lang="en-US" noProof="0" dirty="0"/>
              <a:t>Level three</a:t>
            </a:r>
          </a:p>
          <a:p>
            <a:pPr lvl="3"/>
            <a:r>
              <a:rPr lang="en-US" noProof="0" dirty="0"/>
              <a:t>Level four</a:t>
            </a:r>
          </a:p>
          <a:p>
            <a:pPr lvl="4"/>
            <a:r>
              <a:rPr lang="en-US" noProof="0" dirty="0"/>
              <a:t>Level five</a:t>
            </a:r>
          </a:p>
        </p:txBody>
      </p:sp>
      <p:sp>
        <p:nvSpPr>
          <p:cNvPr id="9" name="Platshållare för bild 6"/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-6350"/>
            <a:ext cx="6083300" cy="3181350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6" name="Platshållare för text 7">
            <a:extLst>
              <a:ext uri="{FF2B5EF4-FFF2-40B4-BE49-F238E27FC236}">
                <a16:creationId xmlns:a16="http://schemas.microsoft.com/office/drawing/2014/main" id="{FE382633-8D86-4307-ABAC-6A1A83D970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53" y="1033845"/>
            <a:ext cx="5618163" cy="463095"/>
          </a:xfrm>
        </p:spPr>
        <p:txBody>
          <a:bodyPr>
            <a:noAutofit/>
          </a:bodyPr>
          <a:lstStyle>
            <a:lvl1pPr marL="0" indent="0" algn="l" rtl="0">
              <a:buNone/>
              <a:defRPr sz="3200"/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8" name="Rubrik 1">
            <a:extLst>
              <a:ext uri="{FF2B5EF4-FFF2-40B4-BE49-F238E27FC236}">
                <a16:creationId xmlns:a16="http://schemas.microsoft.com/office/drawing/2014/main" id="{77EFA992-BC38-416C-A773-C214AFD85B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115888"/>
            <a:ext cx="5618163" cy="927482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US" noProof="0"/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20" name="Platshållare för sidfot 4">
            <a:extLst>
              <a:ext uri="{FF2B5EF4-FFF2-40B4-BE49-F238E27FC236}">
                <a16:creationId xmlns:a16="http://schemas.microsoft.com/office/drawing/2014/main" id="{EFF81350-E7AF-4627-9FCE-80BF777A5D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10723" y="6373848"/>
            <a:ext cx="517757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latshållare för bildnummer 5">
            <a:extLst>
              <a:ext uri="{FF2B5EF4-FFF2-40B4-BE49-F238E27FC236}">
                <a16:creationId xmlns:a16="http://schemas.microsoft.com/office/drawing/2014/main" id="{C0F4262C-9B4D-44F4-BA14-71E2D8EBB4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3039" y="6373848"/>
            <a:ext cx="24765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Platshållare för datum 3">
            <a:extLst>
              <a:ext uri="{FF2B5EF4-FFF2-40B4-BE49-F238E27FC236}">
                <a16:creationId xmlns:a16="http://schemas.microsoft.com/office/drawing/2014/main" id="{90537F71-D2F2-430B-B292-BD23A5D7C1E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19615" y="6373848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17570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2DD597F-59CA-450C-9B9A-3EB0C2E60A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1600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2DD597F-59CA-450C-9B9A-3EB0C2E60A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tshållare för bild 6"/>
          <p:cNvSpPr>
            <a:spLocks noGrp="1"/>
          </p:cNvSpPr>
          <p:nvPr>
            <p:ph type="pic" sz="quarter" idx="13" hasCustomPrompt="1"/>
          </p:nvPr>
        </p:nvSpPr>
        <p:spPr>
          <a:xfrm>
            <a:off x="6108700" y="3240086"/>
            <a:ext cx="6083300" cy="3084514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1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334963" y="1773238"/>
            <a:ext cx="5618163" cy="45513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Level two</a:t>
            </a:r>
          </a:p>
          <a:p>
            <a:pPr lvl="2"/>
            <a:r>
              <a:rPr lang="en-US" noProof="0"/>
              <a:t>Level three</a:t>
            </a:r>
          </a:p>
          <a:p>
            <a:pPr lvl="3"/>
            <a:r>
              <a:rPr lang="en-US" noProof="0"/>
              <a:t>Level four</a:t>
            </a:r>
          </a:p>
          <a:p>
            <a:pPr lvl="4"/>
            <a:r>
              <a:rPr lang="en-US" noProof="0"/>
              <a:t>Level five</a:t>
            </a:r>
          </a:p>
        </p:txBody>
      </p:sp>
      <p:sp>
        <p:nvSpPr>
          <p:cNvPr id="9" name="Platshållare för bild 6"/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-6350"/>
            <a:ext cx="3017371" cy="3181350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2" name="Platshållare för bild 6"/>
          <p:cNvSpPr>
            <a:spLocks noGrp="1"/>
          </p:cNvSpPr>
          <p:nvPr>
            <p:ph type="pic" sz="quarter" idx="17" hasCustomPrompt="1"/>
          </p:nvPr>
        </p:nvSpPr>
        <p:spPr>
          <a:xfrm>
            <a:off x="9194800" y="-6350"/>
            <a:ext cx="2997200" cy="3181350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6" name="Platshållare för text 7">
            <a:extLst>
              <a:ext uri="{FF2B5EF4-FFF2-40B4-BE49-F238E27FC236}">
                <a16:creationId xmlns:a16="http://schemas.microsoft.com/office/drawing/2014/main" id="{D501756C-CE27-4275-838E-94B40B5A304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4953" y="1033845"/>
            <a:ext cx="5618156" cy="463095"/>
          </a:xfrm>
        </p:spPr>
        <p:txBody>
          <a:bodyPr>
            <a:noAutofit/>
          </a:bodyPr>
          <a:lstStyle>
            <a:lvl1pPr marL="0" indent="0" algn="l" rtl="0">
              <a:buNone/>
              <a:defRPr sz="3200"/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Rubrik 1">
            <a:extLst>
              <a:ext uri="{FF2B5EF4-FFF2-40B4-BE49-F238E27FC236}">
                <a16:creationId xmlns:a16="http://schemas.microsoft.com/office/drawing/2014/main" id="{4D1642FF-7C10-40D2-8122-A2188B63AC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115888"/>
            <a:ext cx="5618156" cy="927482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US" noProof="0"/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14" name="Platshållare för sidfot 4">
            <a:extLst>
              <a:ext uri="{FF2B5EF4-FFF2-40B4-BE49-F238E27FC236}">
                <a16:creationId xmlns:a16="http://schemas.microsoft.com/office/drawing/2014/main" id="{A2100AF1-3ABA-4712-A9CA-50DDA1AC40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10723" y="6373848"/>
            <a:ext cx="517757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latshållare för bildnummer 5">
            <a:extLst>
              <a:ext uri="{FF2B5EF4-FFF2-40B4-BE49-F238E27FC236}">
                <a16:creationId xmlns:a16="http://schemas.microsoft.com/office/drawing/2014/main" id="{F1FAF73C-68F5-4C34-A0BF-E817756AD0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3039" y="6373848"/>
            <a:ext cx="24765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Platshållare för datum 3">
            <a:extLst>
              <a:ext uri="{FF2B5EF4-FFF2-40B4-BE49-F238E27FC236}">
                <a16:creationId xmlns:a16="http://schemas.microsoft.com/office/drawing/2014/main" id="{3FE59B1F-7EEC-4B4F-8677-A8510AC5084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19615" y="6373848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50574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CA1AD54D-13F6-41AF-A812-2BAE3D75490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963" y="6440725"/>
            <a:ext cx="918447" cy="233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4CD5E24-9EA6-4395-AA31-AD368974ED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561155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6" imgW="306" imgH="306" progId="TCLayout.ActiveDocument.1">
                  <p:embed/>
                </p:oleObj>
              </mc:Choice>
              <mc:Fallback>
                <p:oleObj name="think-cell Slide" r:id="rId26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4CD5E24-9EA6-4395-AA31-AD368974E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334964" y="115888"/>
            <a:ext cx="11522074" cy="92802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334963" y="1773238"/>
            <a:ext cx="11522076" cy="45513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Level two</a:t>
            </a:r>
          </a:p>
          <a:p>
            <a:pPr lvl="2"/>
            <a:r>
              <a:rPr lang="en-US" noProof="0" dirty="0"/>
              <a:t>Level three</a:t>
            </a:r>
          </a:p>
          <a:p>
            <a:pPr lvl="3"/>
            <a:r>
              <a:rPr lang="en-US" noProof="0" dirty="0"/>
              <a:t>Level four</a:t>
            </a:r>
          </a:p>
          <a:p>
            <a:pPr lvl="4"/>
            <a:r>
              <a:rPr lang="en-US" noProof="0" dirty="0"/>
              <a:t>Level five</a:t>
            </a:r>
          </a:p>
        </p:txBody>
      </p:sp>
      <p:cxnSp>
        <p:nvCxnSpPr>
          <p:cNvPr id="10" name="Rak koppling 9"/>
          <p:cNvCxnSpPr/>
          <p:nvPr userDrawn="1"/>
        </p:nvCxnSpPr>
        <p:spPr>
          <a:xfrm>
            <a:off x="334963" y="-406400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Rak koppling 12"/>
          <p:cNvCxnSpPr>
            <a:cxnSpLocks/>
          </p:cNvCxnSpPr>
          <p:nvPr userDrawn="1"/>
        </p:nvCxnSpPr>
        <p:spPr>
          <a:xfrm rot="5400000">
            <a:off x="-287337" y="-17462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Rak koppling 13"/>
          <p:cNvCxnSpPr>
            <a:cxnSpLocks/>
          </p:cNvCxnSpPr>
          <p:nvPr userDrawn="1"/>
        </p:nvCxnSpPr>
        <p:spPr>
          <a:xfrm rot="5400000">
            <a:off x="-287337" y="1295400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ak koppling 14"/>
          <p:cNvCxnSpPr>
            <a:cxnSpLocks/>
          </p:cNvCxnSpPr>
          <p:nvPr userDrawn="1"/>
        </p:nvCxnSpPr>
        <p:spPr>
          <a:xfrm rot="5400000">
            <a:off x="-287337" y="1639888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Rak koppling 15"/>
          <p:cNvCxnSpPr>
            <a:cxnSpLocks/>
          </p:cNvCxnSpPr>
          <p:nvPr userDrawn="1"/>
        </p:nvCxnSpPr>
        <p:spPr>
          <a:xfrm rot="5400000">
            <a:off x="-287337" y="6186446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ak koppling 20"/>
          <p:cNvCxnSpPr/>
          <p:nvPr userDrawn="1"/>
        </p:nvCxnSpPr>
        <p:spPr>
          <a:xfrm>
            <a:off x="334963" y="6946900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ak koppling 27">
            <a:extLst>
              <a:ext uri="{FF2B5EF4-FFF2-40B4-BE49-F238E27FC236}">
                <a16:creationId xmlns:a16="http://schemas.microsoft.com/office/drawing/2014/main" id="{5A33B5F2-B58C-428D-BF84-0EA76E408740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-287337" y="805783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Rak koppling 25">
            <a:extLst>
              <a:ext uri="{FF2B5EF4-FFF2-40B4-BE49-F238E27FC236}">
                <a16:creationId xmlns:a16="http://schemas.microsoft.com/office/drawing/2014/main" id="{5E564AB3-C0BA-43CF-9029-4BEFF47E1154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12456207" y="-17462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Rak koppling 26">
            <a:extLst>
              <a:ext uri="{FF2B5EF4-FFF2-40B4-BE49-F238E27FC236}">
                <a16:creationId xmlns:a16="http://schemas.microsoft.com/office/drawing/2014/main" id="{D0BEA464-097C-4772-ABA0-C21C7B14F438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12456207" y="1295400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Rak koppling 28">
            <a:extLst>
              <a:ext uri="{FF2B5EF4-FFF2-40B4-BE49-F238E27FC236}">
                <a16:creationId xmlns:a16="http://schemas.microsoft.com/office/drawing/2014/main" id="{5655405A-2E31-418C-BB15-F4B50FB49E87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12456207" y="1639888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ak koppling 30">
            <a:extLst>
              <a:ext uri="{FF2B5EF4-FFF2-40B4-BE49-F238E27FC236}">
                <a16:creationId xmlns:a16="http://schemas.microsoft.com/office/drawing/2014/main" id="{6C6A4E4B-C942-4520-8CBB-DB6E11014050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12456207" y="805783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latshållare för sidfot 4">
            <a:extLst>
              <a:ext uri="{FF2B5EF4-FFF2-40B4-BE49-F238E27FC236}">
                <a16:creationId xmlns:a16="http://schemas.microsoft.com/office/drawing/2014/main" id="{7C738FDB-39D4-42D9-83A2-EEA141853A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10723" y="6373848"/>
            <a:ext cx="517757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latshållare för bildnummer 5">
            <a:extLst>
              <a:ext uri="{FF2B5EF4-FFF2-40B4-BE49-F238E27FC236}">
                <a16:creationId xmlns:a16="http://schemas.microsoft.com/office/drawing/2014/main" id="{9B769796-806D-441E-8F58-1A93FD9033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3039" y="6373848"/>
            <a:ext cx="24765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4" name="Platshållare för datum 3">
            <a:extLst>
              <a:ext uri="{FF2B5EF4-FFF2-40B4-BE49-F238E27FC236}">
                <a16:creationId xmlns:a16="http://schemas.microsoft.com/office/drawing/2014/main" id="{F71CF025-9D70-4DF3-928F-CE54C8D90D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19615" y="6373848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MSIPCMContentMarking" descr="{&quot;HashCode&quot;:1011615521,&quot;Placement&quot;:&quot;Footer&quot;,&quot;Top&quot;:519.343,&quot;Left&quot;:880.697144,&quot;SlideWidth&quot;:960,&quot;SlideHeight&quot;:540}">
            <a:extLst>
              <a:ext uri="{FF2B5EF4-FFF2-40B4-BE49-F238E27FC236}">
                <a16:creationId xmlns:a16="http://schemas.microsoft.com/office/drawing/2014/main" id="{61C71ED4-C373-439D-B467-0D108093FD72}"/>
              </a:ext>
            </a:extLst>
          </p:cNvPr>
          <p:cNvSpPr txBox="1"/>
          <p:nvPr userDrawn="1"/>
        </p:nvSpPr>
        <p:spPr>
          <a:xfrm>
            <a:off x="11184854" y="6595656"/>
            <a:ext cx="100714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s-MX" sz="1000">
                <a:solidFill>
                  <a:srgbClr val="000000"/>
                </a:solidFill>
                <a:latin typeface="Calibri" panose="020F0502020204030204" pitchFamily="34" charset="0"/>
              </a:rPr>
              <a:t>Essity Internal</a:t>
            </a:r>
            <a:endParaRPr lang="es-MX" sz="10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3014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80" r:id="rId2"/>
    <p:sldLayoutId id="2147483774" r:id="rId3"/>
    <p:sldLayoutId id="2147483781" r:id="rId4"/>
    <p:sldLayoutId id="2147483787" r:id="rId5"/>
    <p:sldLayoutId id="2147483650" r:id="rId6"/>
    <p:sldLayoutId id="2147483782" r:id="rId7"/>
    <p:sldLayoutId id="2147483697" r:id="rId8"/>
    <p:sldLayoutId id="2147483777" r:id="rId9"/>
    <p:sldLayoutId id="2147483783" r:id="rId10"/>
    <p:sldLayoutId id="2147483792" r:id="rId11"/>
    <p:sldLayoutId id="2147483786" r:id="rId12"/>
    <p:sldLayoutId id="2147483784" r:id="rId13"/>
    <p:sldLayoutId id="2147483796" r:id="rId14"/>
    <p:sldLayoutId id="2147483785" r:id="rId15"/>
    <p:sldLayoutId id="2147483788" r:id="rId16"/>
    <p:sldLayoutId id="2147483791" r:id="rId17"/>
    <p:sldLayoutId id="2147483790" r:id="rId18"/>
    <p:sldLayoutId id="2147483793" r:id="rId19"/>
    <p:sldLayoutId id="2147483794" r:id="rId20"/>
    <p:sldLayoutId id="2147483795" r:id="rId2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Wingdings" panose="05000000000000000000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542925" indent="-27622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Calibri" panose="020F0502020204030204" pitchFamily="34" charset="0"/>
        <a:buChar char="─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809625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Calibri" panose="020F0502020204030204" pitchFamily="34" charset="0"/>
        <a:buChar char="─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076325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Calibri" panose="020F0502020204030204" pitchFamily="34" charset="0"/>
        <a:buChar char="─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343025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Calibri" panose="020F0502020204030204" pitchFamily="34" charset="0"/>
        <a:buChar char="─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11" userDrawn="1">
          <p15:clr>
            <a:srgbClr val="F26B43"/>
          </p15:clr>
        </p15:guide>
        <p15:guide id="3" pos="7469" userDrawn="1">
          <p15:clr>
            <a:srgbClr val="F26B43"/>
          </p15:clr>
        </p15:guide>
        <p15:guide id="4" orient="horz" pos="73" userDrawn="1">
          <p15:clr>
            <a:srgbClr val="F26B43"/>
          </p15:clr>
        </p15:guide>
        <p15:guide id="5" orient="horz" pos="900" userDrawn="1">
          <p15:clr>
            <a:srgbClr val="F26B43"/>
          </p15:clr>
        </p15:guide>
        <p15:guide id="6" orient="horz" pos="1117" userDrawn="1">
          <p15:clr>
            <a:srgbClr val="F26B43"/>
          </p15:clr>
        </p15:guide>
        <p15:guide id="7" orient="horz" pos="3979" userDrawn="1">
          <p15:clr>
            <a:srgbClr val="F26B43"/>
          </p15:clr>
        </p15:guide>
        <p15:guide id="8" orient="horz" pos="59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30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3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Relationship Id="rId9" Type="http://schemas.openxmlformats.org/officeDocument/2006/relationships/image" Target="../media/image3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7.xml"/><Relationship Id="rId7" Type="http://schemas.openxmlformats.org/officeDocument/2006/relationships/hyperlink" Target="mailto:eticaOF@essity.com" TargetMode="Externa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3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25486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C29ED0B-4D01-4136-8ED4-D53BF6F6CC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5552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C29ED0B-4D01-4136-8ED4-D53BF6F6C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1B64AA3F-5C65-4447-9494-AE3BA11CB5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3" y="1773238"/>
            <a:ext cx="5543323" cy="4206442"/>
          </a:xfrm>
        </p:spPr>
        <p:txBody>
          <a:bodyPr/>
          <a:lstStyle/>
          <a:p>
            <a:pPr marL="0" indent="0">
              <a:buNone/>
            </a:pPr>
            <a:r>
              <a:rPr lang="es-CO" b="1" dirty="0"/>
              <a:t>ORTOPÉDICOS FUTURO COLOMBIA S.A.S </a:t>
            </a:r>
            <a:r>
              <a:rPr lang="es-CO" dirty="0"/>
              <a:t>se encuentra comprometido con el cumplimiento de las leyes establecidas a nivel Nacional e Internacional orientadas al cumplimiento de todo lo establecido en materia de Ética y Transparencia aplicables al negocio. </a:t>
            </a:r>
            <a:endParaRPr lang="es-MX" dirty="0"/>
          </a:p>
        </p:txBody>
      </p:sp>
      <p:pic>
        <p:nvPicPr>
          <p:cNvPr id="18" name="Platshållare för bild 17" descr="En bild som visar person, utomhus, står&#10;&#10;Automatiskt genererad beskrivning">
            <a:extLst>
              <a:ext uri="{FF2B5EF4-FFF2-40B4-BE49-F238E27FC236}">
                <a16:creationId xmlns:a16="http://schemas.microsoft.com/office/drawing/2014/main" id="{DD221A38-A622-40E6-895D-BE49BAAF974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" b="19"/>
          <a:stretch/>
        </p:blipFill>
        <p:spPr>
          <a:xfrm>
            <a:off x="6095999" y="0"/>
            <a:ext cx="6095999" cy="6858000"/>
          </a:xfrm>
        </p:spPr>
      </p:pic>
      <p:sp>
        <p:nvSpPr>
          <p:cNvPr id="3" name="Rubrik 2">
            <a:extLst>
              <a:ext uri="{FF2B5EF4-FFF2-40B4-BE49-F238E27FC236}">
                <a16:creationId xmlns:a16="http://schemas.microsoft.com/office/drawing/2014/main" id="{796A66D3-3A7D-4EB0-A177-C6D263940B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15888"/>
            <a:ext cx="5543323" cy="927482"/>
          </a:xfrm>
        </p:spPr>
        <p:txBody>
          <a:bodyPr vert="horz"/>
          <a:lstStyle/>
          <a:p>
            <a:r>
              <a:rPr lang="en-US" dirty="0" err="1"/>
              <a:t>Programa</a:t>
            </a:r>
            <a:r>
              <a:rPr lang="en-US" dirty="0"/>
              <a:t> de </a:t>
            </a:r>
            <a:r>
              <a:rPr lang="en-US" dirty="0" err="1"/>
              <a:t>Ética</a:t>
            </a:r>
            <a:r>
              <a:rPr lang="en-US" dirty="0"/>
              <a:t> </a:t>
            </a:r>
            <a:r>
              <a:rPr lang="en-US" dirty="0" err="1"/>
              <a:t>Empresarial</a:t>
            </a:r>
            <a:r>
              <a:rPr lang="en-US" dirty="0"/>
              <a:t> </a:t>
            </a:r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D855EF36-1367-4462-8C7C-08DA3388A62E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46825"/>
            <a:ext cx="4367213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Name of docu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08523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F4D00C4-EE39-4C67-93FF-9675092323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0838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F4D00C4-EE39-4C67-93FF-9675092323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8" descr="Stocksy_comp_535926.jpg">
            <a:extLst>
              <a:ext uri="{FF2B5EF4-FFF2-40B4-BE49-F238E27FC236}">
                <a16:creationId xmlns:a16="http://schemas.microsoft.com/office/drawing/2014/main" id="{D855D9E5-4FB4-408A-8251-B7D1C39B5FA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7" b="107"/>
          <a:stretch/>
        </p:blipFill>
        <p:spPr>
          <a:xfrm>
            <a:off x="6108700" y="3240086"/>
            <a:ext cx="6083300" cy="3084514"/>
          </a:xfrm>
        </p:spPr>
      </p:pic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8FB8DE6-70EA-439B-8F73-A7845216DE9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34963" y="146186"/>
            <a:ext cx="5618163" cy="6178414"/>
          </a:xfrm>
        </p:spPr>
        <p:txBody>
          <a:bodyPr anchor="ctr"/>
          <a:lstStyle/>
          <a:p>
            <a:pPr marL="0" indent="0" algn="just">
              <a:buNone/>
            </a:pPr>
            <a:r>
              <a:rPr lang="es-CO" b="1" dirty="0"/>
              <a:t>Programa de Ética Empresarial</a:t>
            </a:r>
            <a:r>
              <a:rPr lang="es-CO" dirty="0"/>
              <a:t>, busca definir y articular los procesos, procedimientos, políticas y demás recursos necesarios para que la Compañía prevenga, detecte y corrija cualquier evento o situación que pueda convertirse en una infracción a la Ley Anti-soborno trasnacional o cualquier otro acto indebido al interior de la Compañía</a:t>
            </a:r>
            <a:endParaRPr lang="en-US" dirty="0"/>
          </a:p>
        </p:txBody>
      </p:sp>
      <p:pic>
        <p:nvPicPr>
          <p:cNvPr id="20" name="Picture 9">
            <a:extLst>
              <a:ext uri="{FF2B5EF4-FFF2-40B4-BE49-F238E27FC236}">
                <a16:creationId xmlns:a16="http://schemas.microsoft.com/office/drawing/2014/main" id="{6D1E212C-C47B-447A-A8DF-71884545964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3" b="13"/>
          <a:stretch/>
        </p:blipFill>
        <p:spPr>
          <a:xfrm>
            <a:off x="6108700" y="-6350"/>
            <a:ext cx="6083300" cy="3181350"/>
          </a:xfrm>
        </p:spPr>
      </p:pic>
      <p:sp>
        <p:nvSpPr>
          <p:cNvPr id="29" name="Platshållare för bildnummer 28">
            <a:extLst>
              <a:ext uri="{FF2B5EF4-FFF2-40B4-BE49-F238E27FC236}">
                <a16:creationId xmlns:a16="http://schemas.microsoft.com/office/drawing/2014/main" id="{1A18FD4F-FF24-4F1B-8670-5F92C157EE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3039" y="6346689"/>
            <a:ext cx="247650" cy="365125"/>
          </a:xfrm>
        </p:spPr>
        <p:txBody>
          <a:bodyPr/>
          <a:lstStyle/>
          <a:p>
            <a:fld id="{EBAEE941-5805-4C7A-A1F8-CB0F612EE89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2C151D0-3AA8-4EAF-BD8A-0DE9A869384E}"/>
              </a:ext>
            </a:extLst>
          </p:cNvPr>
          <p:cNvSpPr/>
          <p:nvPr/>
        </p:nvSpPr>
        <p:spPr>
          <a:xfrm>
            <a:off x="1381125" y="4964045"/>
            <a:ext cx="3781425" cy="91440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dirty="0">
                <a:solidFill>
                  <a:schemeClr val="bg1"/>
                </a:solidFill>
              </a:rPr>
              <a:t>Haz clic </a:t>
            </a:r>
            <a:r>
              <a:rPr lang="es-MX" b="1" dirty="0">
                <a:solidFill>
                  <a:schemeClr val="bg1"/>
                </a:solidFill>
              </a:rPr>
              <a:t>aquí </a:t>
            </a:r>
            <a:r>
              <a:rPr lang="es-MX" dirty="0">
                <a:solidFill>
                  <a:schemeClr val="bg1"/>
                </a:solidFill>
              </a:rPr>
              <a:t>para descargar PPT</a:t>
            </a:r>
          </a:p>
        </p:txBody>
      </p:sp>
    </p:spTree>
    <p:extLst>
      <p:ext uri="{BB962C8B-B14F-4D97-AF65-F5344CB8AC3E}">
        <p14:creationId xmlns:p14="http://schemas.microsoft.com/office/powerpoint/2010/main" val="37047598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21903BC-520C-4361-BB46-CC2B091438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7338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21903BC-520C-4361-BB46-CC2B091438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F93C2067-FB13-44EF-B09F-F5A5EB73114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53" y="1033845"/>
            <a:ext cx="11522075" cy="463095"/>
          </a:xfrm>
        </p:spPr>
        <p:txBody>
          <a:bodyPr/>
          <a:lstStyle/>
          <a:p>
            <a:r>
              <a:rPr lang="es-MX" sz="2000" dirty="0"/>
              <a:t>Nuestras creencias son nuestra brújula que guían cómo actuamos como empleados de Essity</a:t>
            </a:r>
            <a:endParaRPr lang="en-US" sz="2000" dirty="0"/>
          </a:p>
          <a:p>
            <a:endParaRPr lang="en-US" dirty="0"/>
          </a:p>
        </p:txBody>
      </p:sp>
      <p:sp>
        <p:nvSpPr>
          <p:cNvPr id="8" name="Rubrik 7">
            <a:extLst>
              <a:ext uri="{FF2B5EF4-FFF2-40B4-BE49-F238E27FC236}">
                <a16:creationId xmlns:a16="http://schemas.microsoft.com/office/drawing/2014/main" id="{68AB0103-ECEE-4F5A-9C08-56291FE9B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15888"/>
            <a:ext cx="11522075" cy="927482"/>
          </a:xfrm>
        </p:spPr>
        <p:txBody>
          <a:bodyPr vert="horz" anchor="ctr"/>
          <a:lstStyle/>
          <a:p>
            <a:r>
              <a:rPr lang="en-US" dirty="0" err="1"/>
              <a:t>Creencias</a:t>
            </a:r>
            <a:r>
              <a:rPr lang="en-US" dirty="0"/>
              <a:t> </a:t>
            </a:r>
          </a:p>
        </p:txBody>
      </p:sp>
      <p:sp>
        <p:nvSpPr>
          <p:cNvPr id="36" name="Platshållare för datum 35">
            <a:extLst>
              <a:ext uri="{FF2B5EF4-FFF2-40B4-BE49-F238E27FC236}">
                <a16:creationId xmlns:a16="http://schemas.microsoft.com/office/drawing/2014/main" id="{1CEA7342-A6C3-45F5-9C8B-CD38BB11E58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19615" y="6346689"/>
            <a:ext cx="1484487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7" name="Platshållare för sidfot 36">
            <a:extLst>
              <a:ext uri="{FF2B5EF4-FFF2-40B4-BE49-F238E27FC236}">
                <a16:creationId xmlns:a16="http://schemas.microsoft.com/office/drawing/2014/main" id="{A99F6E82-357F-4B0F-BDE4-ADFFF83189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10723" y="6346689"/>
            <a:ext cx="5177570" cy="365125"/>
          </a:xfrm>
        </p:spPr>
        <p:txBody>
          <a:bodyPr/>
          <a:lstStyle/>
          <a:p>
            <a:r>
              <a:rPr lang="en-US"/>
              <a:t>Name of document</a:t>
            </a:r>
            <a:endParaRPr lang="en-US" dirty="0"/>
          </a:p>
        </p:txBody>
      </p:sp>
      <p:sp>
        <p:nvSpPr>
          <p:cNvPr id="38" name="Platshållare för bildnummer 37">
            <a:extLst>
              <a:ext uri="{FF2B5EF4-FFF2-40B4-BE49-F238E27FC236}">
                <a16:creationId xmlns:a16="http://schemas.microsoft.com/office/drawing/2014/main" id="{77988A27-F0C5-4588-B393-5D7F0F9047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3039" y="6346689"/>
            <a:ext cx="247650" cy="365125"/>
          </a:xfrm>
        </p:spPr>
        <p:txBody>
          <a:bodyPr/>
          <a:lstStyle/>
          <a:p>
            <a:fld id="{EBAEE941-5805-4C7A-A1F8-CB0F612EE89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3A0EA408-D338-4173-9036-423F2FBE8B05}"/>
              </a:ext>
            </a:extLst>
          </p:cNvPr>
          <p:cNvSpPr/>
          <p:nvPr/>
        </p:nvSpPr>
        <p:spPr>
          <a:xfrm>
            <a:off x="4099508" y="5333723"/>
            <a:ext cx="3781425" cy="91440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dirty="0">
                <a:solidFill>
                  <a:schemeClr val="bg1"/>
                </a:solidFill>
              </a:rPr>
              <a:t>Descarga el Programa de Ética de Ortopédicos Futuro 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33D9986B-49D8-45BE-9A9F-2FA295CAD38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4954" y="1684110"/>
            <a:ext cx="4646622" cy="152581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6CFC9519-3FAE-4A37-9BC4-B3688FB4BBF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4953" y="3620736"/>
            <a:ext cx="4646623" cy="1525815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F14EF053-B5CF-4460-B265-A28EF3081FB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80242" y="1684110"/>
            <a:ext cx="4646622" cy="1525816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12BCE4BA-AAF2-47AD-A9D3-9B6974799FB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091208" y="3620633"/>
            <a:ext cx="4635656" cy="1525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8733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3BA66FD-2DA3-47F7-B826-812E1C7E67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013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3BA66FD-2DA3-47F7-B826-812E1C7E6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latshållare för innehåll 13">
            <a:extLst>
              <a:ext uri="{FF2B5EF4-FFF2-40B4-BE49-F238E27FC236}">
                <a16:creationId xmlns:a16="http://schemas.microsoft.com/office/drawing/2014/main" id="{FBFFF7AB-89C3-47F7-A2DB-FFA11B68BC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just">
              <a:buNone/>
            </a:pPr>
            <a:r>
              <a:rPr lang="es-MX" dirty="0"/>
              <a:t>Nuestro Código de </a:t>
            </a:r>
            <a:r>
              <a:rPr lang="es-MX"/>
              <a:t>Conducta describe </a:t>
            </a:r>
            <a:r>
              <a:rPr lang="es-MX" dirty="0"/>
              <a:t>cómo actuamos como empleados y cómo hacemos negocios. A su vez, resume las expectativas de Essity sobre los empleados y socios comerciales, y qué pueden esperar de nosotros nuestras partes interesadas. Nos tomamos todas las violaciones de nuestro Código seriamente y el incumplimiento puede traer como resultado medidas disciplinarias, incluyendo la terminación del empleo.</a:t>
            </a:r>
          </a:p>
          <a:p>
            <a:pPr marL="0" indent="0" algn="just">
              <a:buNone/>
            </a:pPr>
            <a:endParaRPr lang="es-MX" dirty="0"/>
          </a:p>
          <a:p>
            <a:pPr marL="0" indent="0" algn="just">
              <a:buNone/>
            </a:pPr>
            <a:r>
              <a:rPr lang="es-MX" dirty="0"/>
              <a:t>Ortopédicos Futuro Colombia S.A.S  como parte del grupo empresarial Essity en Colombia esta alineado a cumplir con todas las directrices establecidas en el Código de Conducta. </a:t>
            </a:r>
          </a:p>
          <a:p>
            <a:pPr marL="0" indent="0" algn="just">
              <a:buNone/>
            </a:pPr>
            <a:endParaRPr lang="es-MX" dirty="0"/>
          </a:p>
          <a:p>
            <a:pPr marL="0" indent="0" algn="just">
              <a:buNone/>
            </a:pPr>
            <a:endParaRPr lang="es-MX" dirty="0"/>
          </a:p>
          <a:p>
            <a:pPr marL="0" indent="0" algn="ctr">
              <a:buNone/>
            </a:pPr>
            <a:r>
              <a:rPr lang="es-MX" b="1" dirty="0"/>
              <a:t>Consulta el Código de Conducta de Essity </a:t>
            </a:r>
          </a:p>
          <a:p>
            <a:pPr marL="0" indent="0" algn="ctr">
              <a:buNone/>
            </a:pPr>
            <a:endParaRPr lang="es-MX" b="1" dirty="0"/>
          </a:p>
          <a:p>
            <a:pPr marL="0" indent="0" algn="ctr">
              <a:buNone/>
            </a:pPr>
            <a:endParaRPr lang="fi-FI" b="1" dirty="0"/>
          </a:p>
        </p:txBody>
      </p:sp>
      <p:sp>
        <p:nvSpPr>
          <p:cNvPr id="2" name="Platshållare för text 1">
            <a:extLst>
              <a:ext uri="{FF2B5EF4-FFF2-40B4-BE49-F238E27FC236}">
                <a16:creationId xmlns:a16="http://schemas.microsoft.com/office/drawing/2014/main" id="{A97E352F-13E2-4D16-8DDA-5A386838AA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53" y="1033845"/>
            <a:ext cx="11522075" cy="463095"/>
          </a:xfrm>
        </p:spPr>
        <p:txBody>
          <a:bodyPr/>
          <a:lstStyle/>
          <a:p>
            <a:r>
              <a:rPr lang="en-US" dirty="0"/>
              <a:t>Subheading</a:t>
            </a:r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91199B0A-D9F6-4754-B8AE-241282EE37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15888"/>
            <a:ext cx="11522075" cy="927482"/>
          </a:xfrm>
        </p:spPr>
        <p:txBody>
          <a:bodyPr vert="horz"/>
          <a:lstStyle/>
          <a:p>
            <a:r>
              <a:rPr lang="en-US" dirty="0"/>
              <a:t>Heading Content Slide</a:t>
            </a:r>
          </a:p>
        </p:txBody>
      </p:sp>
      <p:sp>
        <p:nvSpPr>
          <p:cNvPr id="9" name="Platshållare för sidfot 8">
            <a:extLst>
              <a:ext uri="{FF2B5EF4-FFF2-40B4-BE49-F238E27FC236}">
                <a16:creationId xmlns:a16="http://schemas.microsoft.com/office/drawing/2014/main" id="{519E48C3-321D-4C68-BDCA-7EF222661C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10723" y="6373848"/>
            <a:ext cx="5177570" cy="365125"/>
          </a:xfrm>
        </p:spPr>
        <p:txBody>
          <a:bodyPr/>
          <a:lstStyle/>
          <a:p>
            <a:r>
              <a:rPr lang="en-US"/>
              <a:t>Name of document</a:t>
            </a:r>
            <a:endParaRPr lang="en-US" dirty="0"/>
          </a:p>
        </p:txBody>
      </p:sp>
      <p:sp>
        <p:nvSpPr>
          <p:cNvPr id="10" name="Platshållare för bildnummer 9">
            <a:extLst>
              <a:ext uri="{FF2B5EF4-FFF2-40B4-BE49-F238E27FC236}">
                <a16:creationId xmlns:a16="http://schemas.microsoft.com/office/drawing/2014/main" id="{208EC187-124E-4A99-B68C-772458C25B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3039" y="6373848"/>
            <a:ext cx="247650" cy="365125"/>
          </a:xfrm>
        </p:spPr>
        <p:txBody>
          <a:bodyPr/>
          <a:lstStyle/>
          <a:p>
            <a:fld id="{EBAEE941-5805-4C7A-A1F8-CB0F612EE89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8E6BBB58-9774-4D1A-BF4D-E714EC48D6B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19615" y="6373848"/>
            <a:ext cx="1484487" cy="36512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85144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C29ED0B-4D01-4136-8ED4-D53BF6F6CC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C29ED0B-4D01-4136-8ED4-D53BF6F6C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1B64AA3F-5C65-4447-9494-AE3BA11CB5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3" y="1773238"/>
            <a:ext cx="5543323" cy="4206442"/>
          </a:xfrm>
        </p:spPr>
        <p:txBody>
          <a:bodyPr/>
          <a:lstStyle/>
          <a:p>
            <a:pPr marL="0" indent="0">
              <a:buNone/>
            </a:pPr>
            <a:r>
              <a:rPr lang="es-MX" dirty="0"/>
              <a:t>Ortopédicos Futuro define como mecanismo para los colaboradores, Contratistas y cualquier otra persona que tenga conocimiento de una conducta de Soborno Trasnacional o de cualquier acto de corrupción relacionadas con Ortopédicos Futuro, tenga la posibilidad de reportar de manera confidencial cualquier violación al Programa de Ética Empresarial, a través del correo. </a:t>
            </a:r>
          </a:p>
          <a:p>
            <a:pPr marL="0" indent="0">
              <a:buNone/>
            </a:pPr>
            <a:endParaRPr lang="es-MX" dirty="0"/>
          </a:p>
          <a:p>
            <a:pPr marL="0" indent="0">
              <a:buNone/>
            </a:pPr>
            <a:endParaRPr lang="es-MX" dirty="0"/>
          </a:p>
        </p:txBody>
      </p:sp>
      <p:pic>
        <p:nvPicPr>
          <p:cNvPr id="18" name="Platshållare för bild 17" descr="En bild som visar person, utomhus, står&#10;&#10;Automatiskt genererad beskrivning">
            <a:extLst>
              <a:ext uri="{FF2B5EF4-FFF2-40B4-BE49-F238E27FC236}">
                <a16:creationId xmlns:a16="http://schemas.microsoft.com/office/drawing/2014/main" id="{DD221A38-A622-40E6-895D-BE49BAAF974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" b="19"/>
          <a:stretch/>
        </p:blipFill>
        <p:spPr>
          <a:xfrm>
            <a:off x="6095999" y="0"/>
            <a:ext cx="6095999" cy="6858000"/>
          </a:xfrm>
        </p:spPr>
      </p:pic>
      <p:sp>
        <p:nvSpPr>
          <p:cNvPr id="3" name="Rubrik 2">
            <a:extLst>
              <a:ext uri="{FF2B5EF4-FFF2-40B4-BE49-F238E27FC236}">
                <a16:creationId xmlns:a16="http://schemas.microsoft.com/office/drawing/2014/main" id="{796A66D3-3A7D-4EB0-A177-C6D263940B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15888"/>
            <a:ext cx="5543323" cy="927482"/>
          </a:xfrm>
        </p:spPr>
        <p:txBody>
          <a:bodyPr vert="horz"/>
          <a:lstStyle/>
          <a:p>
            <a:r>
              <a:rPr lang="en-US" dirty="0" err="1"/>
              <a:t>Comunícate</a:t>
            </a:r>
            <a:r>
              <a:rPr lang="en-US" dirty="0"/>
              <a:t> con </a:t>
            </a:r>
            <a:r>
              <a:rPr lang="en-US" dirty="0" err="1"/>
              <a:t>nosotros</a:t>
            </a:r>
            <a:r>
              <a:rPr lang="en-US" dirty="0"/>
              <a:t> </a:t>
            </a:r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D855EF36-1367-4462-8C7C-08DA3388A62E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46825"/>
            <a:ext cx="4367213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Name of document</a:t>
            </a:r>
            <a:endParaRPr lang="en-US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6F43C54D-CFF1-4498-A741-70C9213C5B04}"/>
              </a:ext>
            </a:extLst>
          </p:cNvPr>
          <p:cNvSpPr/>
          <p:nvPr/>
        </p:nvSpPr>
        <p:spPr>
          <a:xfrm>
            <a:off x="1181099" y="4924425"/>
            <a:ext cx="3733801" cy="9144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b="1" u="sng" dirty="0">
                <a:solidFill>
                  <a:schemeClr val="tx2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ticaOF@essity.com</a:t>
            </a:r>
            <a:endParaRPr lang="es-MX" b="1" dirty="0">
              <a:solidFill>
                <a:schemeClr val="tx2"/>
              </a:solidFill>
            </a:endParaRPr>
          </a:p>
        </p:txBody>
      </p:sp>
      <p:pic>
        <p:nvPicPr>
          <p:cNvPr id="5" name="Graphic 4" descr="Email">
            <a:extLst>
              <a:ext uri="{FF2B5EF4-FFF2-40B4-BE49-F238E27FC236}">
                <a16:creationId xmlns:a16="http://schemas.microsoft.com/office/drawing/2014/main" id="{08B1F9D0-BBDC-4890-8CFB-3B3926105D4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23976" y="5157788"/>
            <a:ext cx="518840" cy="452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8163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ssity template">
  <a:themeElements>
    <a:clrScheme name="Anpassat 45">
      <a:dk1>
        <a:srgbClr val="000000"/>
      </a:dk1>
      <a:lt1>
        <a:sysClr val="window" lastClr="FFFFFF"/>
      </a:lt1>
      <a:dk2>
        <a:srgbClr val="00005A"/>
      </a:dk2>
      <a:lt2>
        <a:srgbClr val="F50082"/>
      </a:lt2>
      <a:accent1>
        <a:srgbClr val="888B8D"/>
      </a:accent1>
      <a:accent2>
        <a:srgbClr val="F50082"/>
      </a:accent2>
      <a:accent3>
        <a:srgbClr val="0000C3"/>
      </a:accent3>
      <a:accent4>
        <a:srgbClr val="009AFF"/>
      </a:accent4>
      <a:accent5>
        <a:srgbClr val="009A44"/>
      </a:accent5>
      <a:accent6>
        <a:srgbClr val="FF8200"/>
      </a:accent6>
      <a:hlink>
        <a:srgbClr val="7F7F7F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nspiration document .pptx" id="{49524E92-5616-4878-AE2C-CBEBCF58E95E}" vid="{8EBAB7CD-5C22-48F2-A271-94950586D595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haredContentType xmlns="Microsoft.SharePoint.Taxonomy.ContentTypeSync" SourceId="082e87e1-ab12-4a6e-aa89-33ae31357808" ContentTypeId="0x0101" PreviousValue="false"/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84724C1CDA0A043BB1990BA8371F6C0" ma:contentTypeVersion="9" ma:contentTypeDescription="Create a new document." ma:contentTypeScope="" ma:versionID="d983560a7c82433c7e709b921c164419">
  <xsd:schema xmlns:xsd="http://www.w3.org/2001/XMLSchema" xmlns:xs="http://www.w3.org/2001/XMLSchema" xmlns:p="http://schemas.microsoft.com/office/2006/metadata/properties" xmlns:ns2="dc6ffee2-e55d-4009-a95d-aa81f14b6c75" xmlns:ns3="9d2945ec-7499-433e-af82-4fcee1419046" targetNamespace="http://schemas.microsoft.com/office/2006/metadata/properties" ma:root="true" ma:fieldsID="a5705591d1c00e0890493ab554dde1d1" ns2:_="" ns3:_="">
    <xsd:import namespace="dc6ffee2-e55d-4009-a95d-aa81f14b6c75"/>
    <xsd:import namespace="9d2945ec-7499-433e-af82-4fcee1419046"/>
    <xsd:element name="properties">
      <xsd:complexType>
        <xsd:sequence>
          <xsd:element name="documentManagement">
            <xsd:complexType>
              <xsd:all>
                <xsd:element ref="ns2:HideFromDelve" minOccurs="0"/>
                <xsd:element ref="ns3:ContactPerson" minOccurs="0"/>
                <xsd:element ref="ns3:ContentType0"/>
                <xsd:element ref="ns3:Application"/>
                <xsd:element ref="ns3:Folder" minOccurs="0"/>
                <xsd:element ref="ns3:Status"/>
                <xsd:element ref="ns3:DeploymentScope"/>
                <xsd:element ref="ns3:Comment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6ffee2-e55d-4009-a95d-aa81f14b6c75" elementFormDefault="qualified">
    <xsd:import namespace="http://schemas.microsoft.com/office/2006/documentManagement/types"/>
    <xsd:import namespace="http://schemas.microsoft.com/office/infopath/2007/PartnerControls"/>
    <xsd:element name="HideFromDelve" ma:index="8" nillable="true" ma:displayName="HideFromDelve" ma:default="0" ma:internalName="HideFromDelv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2945ec-7499-433e-af82-4fcee1419046" elementFormDefault="qualified">
    <xsd:import namespace="http://schemas.microsoft.com/office/2006/documentManagement/types"/>
    <xsd:import namespace="http://schemas.microsoft.com/office/infopath/2007/PartnerControls"/>
    <xsd:element name="ContactPerson" ma:index="9" nillable="true" ma:displayName="Contact Person" ma:format="Dropdown" ma:list="UserInfo" ma:SharePointGroup="0" ma:internalName="ContactPerson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ontentType0" ma:index="10" ma:displayName="ContentType" ma:format="Dropdown" ma:internalName="ContentType0">
      <xsd:simpleType>
        <xsd:restriction base="dms:Choice">
          <xsd:enumeration value="Office Template"/>
          <xsd:enumeration value="Font"/>
        </xsd:restriction>
      </xsd:simpleType>
    </xsd:element>
    <xsd:element name="Application" ma:index="11" ma:displayName="Application" ma:format="Dropdown" ma:internalName="Application">
      <xsd:simpleType>
        <xsd:restriction base="dms:Choice">
          <xsd:enumeration value="PowerPoint"/>
          <xsd:enumeration value="Word"/>
          <xsd:enumeration value="Excel"/>
          <xsd:enumeration value="other"/>
        </xsd:restriction>
      </xsd:simpleType>
    </xsd:element>
    <xsd:element name="Folder" ma:index="12" nillable="true" ma:displayName="Folder" ma:format="Dropdown" ma:internalName="Folder">
      <xsd:simpleType>
        <xsd:restriction base="dms:Text">
          <xsd:maxLength value="255"/>
        </xsd:restriction>
      </xsd:simpleType>
    </xsd:element>
    <xsd:element name="Status" ma:index="13" ma:displayName="Status" ma:format="Dropdown" ma:internalName="Status">
      <xsd:simpleType>
        <xsd:restriction base="dms:Choice">
          <xsd:enumeration value="Preparing"/>
          <xsd:enumeration value="Deployed"/>
          <xsd:enumeration value="Archived"/>
        </xsd:restriction>
      </xsd:simpleType>
    </xsd:element>
    <xsd:element name="DeploymentScope" ma:index="14" ma:displayName="Deployment Scope" ma:format="Dropdown" ma:internalName="DeploymentScope">
      <xsd:simpleType>
        <xsd:restriction base="dms:Choice">
          <xsd:enumeration value="Global"/>
          <xsd:enumeration value="Limited"/>
        </xsd:restriction>
      </xsd:simpleType>
    </xsd:element>
    <xsd:element name="Comment" ma:index="15" nillable="true" ma:displayName="Comment" ma:format="Dropdown" ma:internalName="Comment">
      <xsd:simpleType>
        <xsd:restriction base="dms:Note">
          <xsd:maxLength value="255"/>
        </xsd:restriction>
      </xsd:simpleType>
    </xsd:element>
    <xsd:element name="MediaServiceMetadata" ma:index="16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7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HideFromDelve xmlns="dc6ffee2-e55d-4009-a95d-aa81f14b6c75">false</HideFromDelve>
    <Folder xmlns="9d2945ec-7499-433e-af82-4fcee1419046">Corporate</Folder>
    <Application xmlns="9d2945ec-7499-433e-af82-4fcee1419046">PowerPoint</Application>
    <DeploymentScope xmlns="9d2945ec-7499-433e-af82-4fcee1419046">Global</DeploymentScope>
    <ContentType0 xmlns="9d2945ec-7499-433e-af82-4fcee1419046">Office Template</ContentType0>
    <Status xmlns="9d2945ec-7499-433e-af82-4fcee1419046">Deployed</Status>
    <Comment xmlns="9d2945ec-7499-433e-af82-4fcee1419046" xsi:nil="true"/>
    <ContactPerson xmlns="9d2945ec-7499-433e-af82-4fcee1419046">
      <UserInfo>
        <DisplayName>OHLANDER Frida</DisplayName>
        <AccountId>2288</AccountId>
        <AccountType/>
      </UserInfo>
    </ContactPerson>
  </documentManagement>
</p:properties>
</file>

<file path=customXml/itemProps1.xml><?xml version="1.0" encoding="utf-8"?>
<ds:datastoreItem xmlns:ds="http://schemas.openxmlformats.org/officeDocument/2006/customXml" ds:itemID="{8CAA7352-C5ED-430C-BABA-1157B3739429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1BB2E609-AEAE-465C-8FC7-3D99F3DAA68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B757CE1-8A24-4F6A-BD0A-255B5F0562D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c6ffee2-e55d-4009-a95d-aa81f14b6c75"/>
    <ds:schemaRef ds:uri="9d2945ec-7499-433e-af82-4fcee14190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216E751B-E773-4D56-A9D1-7982824A6F0C}">
  <ds:schemaRefs>
    <ds:schemaRef ds:uri="http://schemas.microsoft.com/office/infopath/2007/PartnerControls"/>
    <ds:schemaRef ds:uri="http://purl.org/dc/elements/1.1/"/>
    <ds:schemaRef ds:uri="http://www.w3.org/XML/1998/namespace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dc6ffee2-e55d-4009-a95d-aa81f14b6c75"/>
    <ds:schemaRef ds:uri="4223ed3b-4ffb-4d7c-81ac-2f01c70dccda"/>
    <ds:schemaRef ds:uri="db2489d6-1599-44f1-9b52-228b869c0a97"/>
    <ds:schemaRef ds:uri="http://schemas.microsoft.com/office/2006/metadata/properties"/>
    <ds:schemaRef ds:uri="http://purl.org/dc/terms/"/>
    <ds:schemaRef ds:uri="9d2945ec-7499-433e-af82-4fcee1419046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spiration document</Template>
  <TotalTime>0</TotalTime>
  <Words>310</Words>
  <Application>Microsoft Office PowerPoint</Application>
  <PresentationFormat>Widescreen</PresentationFormat>
  <Paragraphs>25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Calibri</vt:lpstr>
      <vt:lpstr>Wingdings</vt:lpstr>
      <vt:lpstr>Essity template</vt:lpstr>
      <vt:lpstr>think-cell Slide</vt:lpstr>
      <vt:lpstr>PowerPoint Presentation</vt:lpstr>
      <vt:lpstr>Programa de Ética Empresarial </vt:lpstr>
      <vt:lpstr>PowerPoint Presentation</vt:lpstr>
      <vt:lpstr>Creencias </vt:lpstr>
      <vt:lpstr>Heading Content Slide</vt:lpstr>
      <vt:lpstr>Comunícate con nosotro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OGUEZ Aldara</dc:creator>
  <cp:lastModifiedBy>RODRIGUEZ Jennifer</cp:lastModifiedBy>
  <cp:revision>2</cp:revision>
  <dcterms:created xsi:type="dcterms:W3CDTF">2021-07-01T18:11:16Z</dcterms:created>
  <dcterms:modified xsi:type="dcterms:W3CDTF">2021-07-21T20:20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84724C1CDA0A043BB1990BA8371F6C0</vt:lpwstr>
  </property>
  <property fmtid="{D5CDD505-2E9C-101B-9397-08002B2CF9AE}" pid="3" name="MSIP_Label_4c8d6ef0-491d-4f17-aead-12ed260929f1_Enabled">
    <vt:lpwstr>True</vt:lpwstr>
  </property>
  <property fmtid="{D5CDD505-2E9C-101B-9397-08002B2CF9AE}" pid="4" name="MSIP_Label_4c8d6ef0-491d-4f17-aead-12ed260929f1_SiteId">
    <vt:lpwstr>f101208c-39d3-4c8a-8cc7-ad896b25954f</vt:lpwstr>
  </property>
  <property fmtid="{D5CDD505-2E9C-101B-9397-08002B2CF9AE}" pid="5" name="MSIP_Label_4c8d6ef0-491d-4f17-aead-12ed260929f1_SetDate">
    <vt:lpwstr>2018-09-25T09:08:24.1474997Z</vt:lpwstr>
  </property>
  <property fmtid="{D5CDD505-2E9C-101B-9397-08002B2CF9AE}" pid="6" name="MSIP_Label_4c8d6ef0-491d-4f17-aead-12ed260929f1_Name">
    <vt:lpwstr>Internal</vt:lpwstr>
  </property>
  <property fmtid="{D5CDD505-2E9C-101B-9397-08002B2CF9AE}" pid="7" name="MSIP_Label_4c8d6ef0-491d-4f17-aead-12ed260929f1_Extended_MSFT_Method">
    <vt:lpwstr>Automatic</vt:lpwstr>
  </property>
  <property fmtid="{D5CDD505-2E9C-101B-9397-08002B2CF9AE}" pid="8" name="Sensitivity">
    <vt:lpwstr>Internal</vt:lpwstr>
  </property>
</Properties>
</file>